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2" r:id="rId4"/>
    <p:sldMasterId id="2147483989" r:id="rId5"/>
  </p:sldMasterIdLst>
  <p:notesMasterIdLst>
    <p:notesMasterId r:id="rId12"/>
  </p:notesMasterIdLst>
  <p:handoutMasterIdLst>
    <p:handoutMasterId r:id="rId13"/>
  </p:handoutMasterIdLst>
  <p:sldIdLst>
    <p:sldId id="268" r:id="rId6"/>
    <p:sldId id="275" r:id="rId7"/>
    <p:sldId id="370" r:id="rId8"/>
    <p:sldId id="366" r:id="rId9"/>
    <p:sldId id="283" r:id="rId10"/>
    <p:sldId id="385" r:id="rId11"/>
  </p:sldIdLst>
  <p:sldSz cx="9144000" cy="6858000" type="screen4x3"/>
  <p:notesSz cx="6946900" cy="92202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delman, Sarah" initials="ES" lastIdx="15" clrIdx="0">
    <p:extLst>
      <p:ext uri="{19B8F6BF-5375-455C-9EA6-DF929625EA0E}">
        <p15:presenceInfo xmlns:p15="http://schemas.microsoft.com/office/powerpoint/2012/main" userId="S::k2usje@fanniemae.com::8c6b7928-255a-4930-bc24-1d06b0073c55" providerId="AD"/>
      </p:ext>
    </p:extLst>
  </p:cmAuthor>
  <p:cmAuthor id="2" name="Navarro, Rogelio" initials="NR" lastIdx="1" clrIdx="1">
    <p:extLst>
      <p:ext uri="{19B8F6BF-5375-455C-9EA6-DF929625EA0E}">
        <p15:presenceInfo xmlns:p15="http://schemas.microsoft.com/office/powerpoint/2012/main" userId="S::a0uran@fanniemae.com::3a078106-9c48-481e-881e-869fd26001f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5422"/>
    <a:srgbClr val="5DC7D0"/>
    <a:srgbClr val="509ED5"/>
    <a:srgbClr val="FF9C66"/>
    <a:srgbClr val="085280"/>
    <a:srgbClr val="238196"/>
    <a:srgbClr val="05314D"/>
    <a:srgbClr val="459BAD"/>
    <a:srgbClr val="CE683E"/>
    <a:srgbClr val="42794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0CCE46-1846-4FE4-9820-14996A11EE15}" v="487" dt="2021-07-08T16:32:44.648"/>
  </p1510:revLst>
</p1510:revInfo>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801" autoAdjust="0"/>
    <p:restoredTop sz="94286" autoAdjust="0"/>
  </p:normalViewPr>
  <p:slideViewPr>
    <p:cSldViewPr snapToGrid="0" showGuides="1">
      <p:cViewPr varScale="1">
        <p:scale>
          <a:sx n="62" d="100"/>
          <a:sy n="62" d="100"/>
        </p:scale>
        <p:origin x="1736" y="56"/>
      </p:cViewPr>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101" d="100"/>
          <a:sy n="101" d="100"/>
        </p:scale>
        <p:origin x="3320"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9900" cy="461963"/>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35413" y="0"/>
            <a:ext cx="3009900" cy="461963"/>
          </a:xfrm>
          <a:prstGeom prst="rect">
            <a:avLst/>
          </a:prstGeom>
        </p:spPr>
        <p:txBody>
          <a:bodyPr vert="horz" lIns="91440" tIns="45720" rIns="91440" bIns="45720" rtlCol="0"/>
          <a:lstStyle>
            <a:lvl1pPr algn="r">
              <a:defRPr sz="1200"/>
            </a:lvl1pPr>
          </a:lstStyle>
          <a:p>
            <a:fld id="{016A3EFD-E54E-41FB-8C6D-B3F216D8236A}" type="datetimeFigureOut">
              <a:rPr lang="en-US" smtClean="0"/>
              <a:t>7/9/2021</a:t>
            </a:fld>
            <a:endParaRPr lang="en-US" dirty="0"/>
          </a:p>
        </p:txBody>
      </p:sp>
      <p:sp>
        <p:nvSpPr>
          <p:cNvPr id="4" name="Footer Placeholder 3"/>
          <p:cNvSpPr>
            <a:spLocks noGrp="1"/>
          </p:cNvSpPr>
          <p:nvPr>
            <p:ph type="ftr" sz="quarter" idx="2"/>
          </p:nvPr>
        </p:nvSpPr>
        <p:spPr>
          <a:xfrm>
            <a:off x="0" y="8758238"/>
            <a:ext cx="3009900" cy="461962"/>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5413" y="8758238"/>
            <a:ext cx="3009900" cy="461962"/>
          </a:xfrm>
          <a:prstGeom prst="rect">
            <a:avLst/>
          </a:prstGeom>
        </p:spPr>
        <p:txBody>
          <a:bodyPr vert="horz" lIns="91440" tIns="45720" rIns="91440" bIns="45720" rtlCol="0" anchor="b"/>
          <a:lstStyle>
            <a:lvl1pPr algn="r">
              <a:defRPr sz="1200"/>
            </a:lvl1pPr>
          </a:lstStyle>
          <a:p>
            <a:fld id="{4C08AC28-B15D-4EC8-8A3A-DB321173E31D}" type="slidenum">
              <a:rPr lang="en-US" smtClean="0"/>
              <a:t>‹#›</a:t>
            </a:fld>
            <a:endParaRPr lang="en-US" dirty="0"/>
          </a:p>
        </p:txBody>
      </p:sp>
    </p:spTree>
    <p:extLst>
      <p:ext uri="{BB962C8B-B14F-4D97-AF65-F5344CB8AC3E}">
        <p14:creationId xmlns:p14="http://schemas.microsoft.com/office/powerpoint/2010/main" val="27644980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0323" cy="462611"/>
          </a:xfrm>
          <a:prstGeom prst="rect">
            <a:avLst/>
          </a:prstGeom>
        </p:spPr>
        <p:txBody>
          <a:bodyPr vert="horz" lIns="92382" tIns="46191" rIns="92382" bIns="46191" rtlCol="0"/>
          <a:lstStyle>
            <a:lvl1pPr algn="l">
              <a:defRPr sz="1200"/>
            </a:lvl1pPr>
          </a:lstStyle>
          <a:p>
            <a:endParaRPr lang="en-US" dirty="0"/>
          </a:p>
        </p:txBody>
      </p:sp>
      <p:sp>
        <p:nvSpPr>
          <p:cNvPr id="3" name="Date Placeholder 2"/>
          <p:cNvSpPr>
            <a:spLocks noGrp="1"/>
          </p:cNvSpPr>
          <p:nvPr>
            <p:ph type="dt" idx="1"/>
          </p:nvPr>
        </p:nvSpPr>
        <p:spPr>
          <a:xfrm>
            <a:off x="3934969" y="0"/>
            <a:ext cx="3010323" cy="462611"/>
          </a:xfrm>
          <a:prstGeom prst="rect">
            <a:avLst/>
          </a:prstGeom>
        </p:spPr>
        <p:txBody>
          <a:bodyPr vert="horz" lIns="92382" tIns="46191" rIns="92382" bIns="46191" rtlCol="0"/>
          <a:lstStyle>
            <a:lvl1pPr algn="r">
              <a:defRPr sz="1200"/>
            </a:lvl1pPr>
          </a:lstStyle>
          <a:p>
            <a:fld id="{6CAF3E97-AF57-4FDA-A17A-116A32145664}" type="datetimeFigureOut">
              <a:rPr lang="en-US" smtClean="0"/>
              <a:t>7/9/2021</a:t>
            </a:fld>
            <a:endParaRPr lang="en-US" dirty="0"/>
          </a:p>
        </p:txBody>
      </p:sp>
      <p:sp>
        <p:nvSpPr>
          <p:cNvPr id="4" name="Slide Image Placeholder 3"/>
          <p:cNvSpPr>
            <a:spLocks noGrp="1" noRot="1" noChangeAspect="1"/>
          </p:cNvSpPr>
          <p:nvPr>
            <p:ph type="sldImg" idx="2"/>
          </p:nvPr>
        </p:nvSpPr>
        <p:spPr>
          <a:xfrm>
            <a:off x="1398588" y="1152525"/>
            <a:ext cx="4149725" cy="3111500"/>
          </a:xfrm>
          <a:prstGeom prst="rect">
            <a:avLst/>
          </a:prstGeom>
          <a:noFill/>
          <a:ln w="12700">
            <a:solidFill>
              <a:prstClr val="black"/>
            </a:solidFill>
          </a:ln>
        </p:spPr>
        <p:txBody>
          <a:bodyPr vert="horz" lIns="92382" tIns="46191" rIns="92382" bIns="46191" rtlCol="0" anchor="ctr"/>
          <a:lstStyle/>
          <a:p>
            <a:endParaRPr lang="en-US" dirty="0"/>
          </a:p>
        </p:txBody>
      </p:sp>
      <p:sp>
        <p:nvSpPr>
          <p:cNvPr id="5" name="Notes Placeholder 4"/>
          <p:cNvSpPr>
            <a:spLocks noGrp="1"/>
          </p:cNvSpPr>
          <p:nvPr>
            <p:ph type="body" sz="quarter" idx="3"/>
          </p:nvPr>
        </p:nvSpPr>
        <p:spPr>
          <a:xfrm>
            <a:off x="694690" y="4437221"/>
            <a:ext cx="5557520" cy="3630454"/>
          </a:xfrm>
          <a:prstGeom prst="rect">
            <a:avLst/>
          </a:prstGeom>
        </p:spPr>
        <p:txBody>
          <a:bodyPr vert="horz" lIns="92382" tIns="46191" rIns="92382" bIns="4619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0"/>
            <a:ext cx="3010323" cy="462610"/>
          </a:xfrm>
          <a:prstGeom prst="rect">
            <a:avLst/>
          </a:prstGeom>
        </p:spPr>
        <p:txBody>
          <a:bodyPr vert="horz" lIns="92382" tIns="46191" rIns="92382" bIns="46191"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4969" y="8757590"/>
            <a:ext cx="3010323" cy="462610"/>
          </a:xfrm>
          <a:prstGeom prst="rect">
            <a:avLst/>
          </a:prstGeom>
        </p:spPr>
        <p:txBody>
          <a:bodyPr vert="horz" lIns="92382" tIns="46191" rIns="92382" bIns="46191" rtlCol="0" anchor="b"/>
          <a:lstStyle>
            <a:lvl1pPr algn="r">
              <a:defRPr sz="1200"/>
            </a:lvl1pPr>
          </a:lstStyle>
          <a:p>
            <a:fld id="{0EB5F0CD-7E3B-4201-BB36-5E2C1737E16B}" type="slidenum">
              <a:rPr lang="en-US" smtClean="0"/>
              <a:t>‹#›</a:t>
            </a:fld>
            <a:endParaRPr lang="en-US" dirty="0"/>
          </a:p>
        </p:txBody>
      </p:sp>
    </p:spTree>
    <p:extLst>
      <p:ext uri="{BB962C8B-B14F-4D97-AF65-F5344CB8AC3E}">
        <p14:creationId xmlns:p14="http://schemas.microsoft.com/office/powerpoint/2010/main" val="41521001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B5F0CD-7E3B-4201-BB36-5E2C1737E16B}" type="slidenum">
              <a:rPr lang="en-US" smtClean="0"/>
              <a:t>2</a:t>
            </a:fld>
            <a:endParaRPr lang="en-US" dirty="0"/>
          </a:p>
        </p:txBody>
      </p:sp>
    </p:spTree>
    <p:extLst>
      <p:ext uri="{BB962C8B-B14F-4D97-AF65-F5344CB8AC3E}">
        <p14:creationId xmlns:p14="http://schemas.microsoft.com/office/powerpoint/2010/main" val="3105472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EB5F0CD-7E3B-4201-BB36-5E2C1737E16B}" type="slidenum">
              <a:rPr lang="en-US" smtClean="0"/>
              <a:t>4</a:t>
            </a:fld>
            <a:endParaRPr lang="en-US" dirty="0"/>
          </a:p>
        </p:txBody>
      </p:sp>
    </p:spTree>
    <p:extLst>
      <p:ext uri="{BB962C8B-B14F-4D97-AF65-F5344CB8AC3E}">
        <p14:creationId xmlns:p14="http://schemas.microsoft.com/office/powerpoint/2010/main" val="25242902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hyperlink" Target="http://commons.wikimedia.org/wiki/File:Mandatory_road_sign_stop.svg" TargetMode="Externa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5.sv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5.svg"/><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3.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2.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7.svg"/><Relationship Id="rId7" Type="http://schemas.openxmlformats.org/officeDocument/2006/relationships/image" Target="../media/image25.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24.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image" Target="../media/image5.sv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4.png"/><Relationship Id="rId5" Type="http://schemas.openxmlformats.org/officeDocument/2006/relationships/image" Target="../media/image17.svg"/><Relationship Id="rId4" Type="http://schemas.openxmlformats.org/officeDocument/2006/relationships/image" Target="../media/image16.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imple cover">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B40558B9-8FD9-C94A-8ADD-E945EAF1BC3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5130800"/>
            <a:ext cx="9144000" cy="1727200"/>
          </a:xfrm>
          <a:prstGeom prst="rect">
            <a:avLst/>
          </a:prstGeom>
        </p:spPr>
      </p:pic>
      <p:sp>
        <p:nvSpPr>
          <p:cNvPr id="11" name="Title 1"/>
          <p:cNvSpPr>
            <a:spLocks noGrp="1"/>
          </p:cNvSpPr>
          <p:nvPr userDrawn="1">
            <p:ph type="title" hasCustomPrompt="1"/>
          </p:nvPr>
        </p:nvSpPr>
        <p:spPr>
          <a:xfrm>
            <a:off x="685801" y="1014984"/>
            <a:ext cx="7086600" cy="738664"/>
          </a:xfrm>
        </p:spPr>
        <p:txBody>
          <a:bodyPr wrap="square">
            <a:spAutoFit/>
          </a:bodyPr>
          <a:lstStyle>
            <a:lvl1pPr>
              <a:defRPr sz="6000" baseline="0">
                <a:solidFill>
                  <a:schemeClr val="tx2"/>
                </a:solidFill>
              </a:defRPr>
            </a:lvl1pPr>
          </a:lstStyle>
          <a:p>
            <a:r>
              <a:rPr lang="en-US" dirty="0"/>
              <a:t>Click to enter title</a:t>
            </a:r>
          </a:p>
        </p:txBody>
      </p:sp>
      <p:sp>
        <p:nvSpPr>
          <p:cNvPr id="3" name="Text Placeholder 2"/>
          <p:cNvSpPr>
            <a:spLocks noGrp="1"/>
          </p:cNvSpPr>
          <p:nvPr userDrawn="1">
            <p:ph type="body" sz="quarter" idx="10" hasCustomPrompt="1"/>
          </p:nvPr>
        </p:nvSpPr>
        <p:spPr>
          <a:xfrm>
            <a:off x="685799" y="2971800"/>
            <a:ext cx="7086601" cy="332399"/>
          </a:xfrm>
        </p:spPr>
        <p:txBody>
          <a:bodyPr wrap="square">
            <a:spAutoFit/>
          </a:bodyPr>
          <a:lstStyle>
            <a:lvl1pPr>
              <a:defRPr sz="2400" b="1" spc="0" baseline="0">
                <a:solidFill>
                  <a:schemeClr val="accent1"/>
                </a:solidFill>
              </a:defRPr>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a:t>
            </a:r>
            <a:r>
              <a:rPr lang="en-US" dirty="0" err="1"/>
              <a:t>subheader</a:t>
            </a:r>
            <a:endParaRPr lang="en-US" dirty="0"/>
          </a:p>
        </p:txBody>
      </p:sp>
      <p:sp>
        <p:nvSpPr>
          <p:cNvPr id="4" name="TextBox 3"/>
          <p:cNvSpPr txBox="1"/>
          <p:nvPr userDrawn="1"/>
        </p:nvSpPr>
        <p:spPr>
          <a:xfrm>
            <a:off x="-572756" y="864158"/>
            <a:ext cx="184731" cy="369332"/>
          </a:xfrm>
          <a:prstGeom prst="rect">
            <a:avLst/>
          </a:prstGeom>
          <a:noFill/>
        </p:spPr>
        <p:txBody>
          <a:bodyPr wrap="none" rtlCol="0">
            <a:spAutoFit/>
          </a:bodyPr>
          <a:lstStyle/>
          <a:p>
            <a:endParaRPr lang="en-US" dirty="0"/>
          </a:p>
        </p:txBody>
      </p:sp>
      <p:sp>
        <p:nvSpPr>
          <p:cNvPr id="8" name="Text Placeholder 2"/>
          <p:cNvSpPr>
            <a:spLocks noGrp="1"/>
          </p:cNvSpPr>
          <p:nvPr userDrawn="1">
            <p:ph type="body" sz="quarter" idx="11" hasCustomPrompt="1"/>
          </p:nvPr>
        </p:nvSpPr>
        <p:spPr>
          <a:xfrm>
            <a:off x="685799" y="3889249"/>
            <a:ext cx="7086601" cy="193899"/>
          </a:xfrm>
        </p:spPr>
        <p:txBody>
          <a:bodyPr wrap="square">
            <a:spAutoFit/>
          </a:bodyPr>
          <a:lstStyle>
            <a:lvl1pPr>
              <a:defRPr sz="1400" b="0" spc="0" baseline="0"/>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Insert byline</a:t>
            </a:r>
          </a:p>
        </p:txBody>
      </p:sp>
      <p:sp>
        <p:nvSpPr>
          <p:cNvPr id="36" name="object 5">
            <a:extLst>
              <a:ext uri="{FF2B5EF4-FFF2-40B4-BE49-F238E27FC236}">
                <a16:creationId xmlns:a16="http://schemas.microsoft.com/office/drawing/2014/main" id="{CB7E6946-FF98-D74A-A2E9-885F5ED31DAD}"/>
              </a:ext>
            </a:extLst>
          </p:cNvPr>
          <p:cNvSpPr/>
          <p:nvPr userDrawn="1"/>
        </p:nvSpPr>
        <p:spPr>
          <a:xfrm>
            <a:off x="685801" y="685800"/>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dirty="0"/>
          </a:p>
        </p:txBody>
      </p:sp>
      <p:pic>
        <p:nvPicPr>
          <p:cNvPr id="13" name="Graphic 12">
            <a:extLst>
              <a:ext uri="{FF2B5EF4-FFF2-40B4-BE49-F238E27FC236}">
                <a16:creationId xmlns:a16="http://schemas.microsoft.com/office/drawing/2014/main" id="{3E8004AA-0332-494B-9798-CA16C2532DD8}"/>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83673" y="6273877"/>
            <a:ext cx="1476464" cy="437816"/>
          </a:xfrm>
          <a:prstGeom prst="rect">
            <a:avLst/>
          </a:prstGeom>
        </p:spPr>
      </p:pic>
      <p:sp>
        <p:nvSpPr>
          <p:cNvPr id="14" name="Footer Placeholder 2">
            <a:extLst>
              <a:ext uri="{FF2B5EF4-FFF2-40B4-BE49-F238E27FC236}">
                <a16:creationId xmlns:a16="http://schemas.microsoft.com/office/drawing/2014/main" id="{B9AC8A56-8037-794E-B6E7-C49673992D6B}"/>
              </a:ext>
            </a:extLst>
          </p:cNvPr>
          <p:cNvSpPr>
            <a:spLocks noGrp="1"/>
          </p:cNvSpPr>
          <p:nvPr>
            <p:ph type="ftr" sz="quarter" idx="12"/>
          </p:nvPr>
        </p:nvSpPr>
        <p:spPr>
          <a:xfrm>
            <a:off x="4572000" y="6518587"/>
            <a:ext cx="3886200" cy="123111"/>
          </a:xfrm>
        </p:spPr>
        <p:txBody>
          <a:bodyPr/>
          <a:lstStyle>
            <a:lvl1pPr marL="0" marR="0" indent="0" algn="r" defTabSz="914400" rtl="0" eaLnBrk="1" fontAlgn="auto" latinLnBrk="0" hangingPunct="1">
              <a:lnSpc>
                <a:spcPct val="100000"/>
              </a:lnSpc>
              <a:spcBef>
                <a:spcPts val="0"/>
              </a:spcBef>
              <a:spcAft>
                <a:spcPts val="0"/>
              </a:spcAft>
              <a:buClrTx/>
              <a:buSzTx/>
              <a:buFontTx/>
              <a:buNone/>
              <a:tabLst/>
              <a:defRPr sz="800">
                <a:solidFill>
                  <a:schemeClr val="bg1"/>
                </a:solidFill>
              </a:defRPr>
            </a:lvl1pPr>
          </a:lstStyle>
          <a:p>
            <a:r>
              <a:rPr lang="en-US" dirty="0"/>
              <a:t>Confidential Commercial Information — Confidential Treatment and FOIA Exemption Requested</a:t>
            </a:r>
          </a:p>
        </p:txBody>
      </p:sp>
      <p:sp>
        <p:nvSpPr>
          <p:cNvPr id="15" name="TextBox 14">
            <a:extLst>
              <a:ext uri="{FF2B5EF4-FFF2-40B4-BE49-F238E27FC236}">
                <a16:creationId xmlns:a16="http://schemas.microsoft.com/office/drawing/2014/main" id="{3A29B5F8-3267-A948-B9D7-907F498BF367}"/>
              </a:ext>
            </a:extLst>
          </p:cNvPr>
          <p:cNvSpPr txBox="1"/>
          <p:nvPr userDrawn="1"/>
        </p:nvSpPr>
        <p:spPr>
          <a:xfrm>
            <a:off x="7643875" y="6339244"/>
            <a:ext cx="814325" cy="123111"/>
          </a:xfrm>
          <a:prstGeom prst="rect">
            <a:avLst/>
          </a:prstGeom>
        </p:spPr>
        <p:txBody>
          <a:bodyPr vert="horz" lIns="0" tIns="0" rIns="0" bIns="0" rtlCol="0" anchor="ctr"/>
          <a:lstStyle>
            <a:defPPr>
              <a:defRPr lang="en-US"/>
            </a:defPPr>
            <a:lvl1pPr>
              <a:defRPr lang="en-US" sz="800">
                <a:solidFill>
                  <a:schemeClr val="bg1"/>
                </a:solidFill>
              </a:defRPr>
            </a:lvl1pPr>
          </a:lstStyle>
          <a:p>
            <a:pPr lvl="0" algn="r"/>
            <a:r>
              <a:rPr lang="en-US" dirty="0"/>
              <a:t>© 2021 Fannie Mae</a:t>
            </a:r>
          </a:p>
        </p:txBody>
      </p:sp>
    </p:spTree>
    <p:extLst>
      <p:ext uri="{BB962C8B-B14F-4D97-AF65-F5344CB8AC3E}">
        <p14:creationId xmlns:p14="http://schemas.microsoft.com/office/powerpoint/2010/main" val="36404494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Right two-thirds column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9" name="Content Placeholder 8"/>
          <p:cNvSpPr>
            <a:spLocks noGrp="1"/>
          </p:cNvSpPr>
          <p:nvPr>
            <p:ph sz="quarter" idx="12" hasCustomPrompt="1"/>
          </p:nvPr>
        </p:nvSpPr>
        <p:spPr>
          <a:xfrm>
            <a:off x="685800" y="2057400"/>
            <a:ext cx="22860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8"/>
          <p:cNvSpPr>
            <a:spLocks noGrp="1"/>
          </p:cNvSpPr>
          <p:nvPr>
            <p:ph sz="quarter" idx="13" hasCustomPrompt="1"/>
          </p:nvPr>
        </p:nvSpPr>
        <p:spPr>
          <a:xfrm>
            <a:off x="3429000" y="2057400"/>
            <a:ext cx="50292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wo columns that can be used for text, images, charts, or tables. Click to change text.</a:t>
            </a:r>
          </a:p>
        </p:txBody>
      </p:sp>
      <p:pic>
        <p:nvPicPr>
          <p:cNvPr id="12" name="Graphic 11">
            <a:extLst>
              <a:ext uri="{FF2B5EF4-FFF2-40B4-BE49-F238E27FC236}">
                <a16:creationId xmlns:a16="http://schemas.microsoft.com/office/drawing/2014/main" id="{721847A8-835C-674B-A8DE-8CC7930A1D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40125593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Three column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9" name="Content Placeholder 8"/>
          <p:cNvSpPr>
            <a:spLocks noGrp="1"/>
          </p:cNvSpPr>
          <p:nvPr>
            <p:ph sz="quarter" idx="12" hasCustomPrompt="1"/>
          </p:nvPr>
        </p:nvSpPr>
        <p:spPr>
          <a:xfrm>
            <a:off x="685800" y="2057400"/>
            <a:ext cx="22860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8"/>
          <p:cNvSpPr>
            <a:spLocks noGrp="1"/>
          </p:cNvSpPr>
          <p:nvPr>
            <p:ph sz="quarter" idx="13" hasCustomPrompt="1"/>
          </p:nvPr>
        </p:nvSpPr>
        <p:spPr>
          <a:xfrm>
            <a:off x="6172200" y="2057400"/>
            <a:ext cx="22860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8"/>
          <p:cNvSpPr>
            <a:spLocks noGrp="1"/>
          </p:cNvSpPr>
          <p:nvPr>
            <p:ph sz="quarter" idx="14" hasCustomPrompt="1"/>
          </p:nvPr>
        </p:nvSpPr>
        <p:spPr>
          <a:xfrm>
            <a:off x="3429000" y="2057400"/>
            <a:ext cx="22860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1">
            <a:extLst>
              <a:ext uri="{FF2B5EF4-FFF2-40B4-BE49-F238E27FC236}">
                <a16:creationId xmlns:a16="http://schemas.microsoft.com/office/drawing/2014/main" id="{09CAEC81-D71E-0043-8532-906243C7C25D}"/>
              </a:ext>
            </a:extLst>
          </p:cNvPr>
          <p:cNvSpPr>
            <a:spLocks noGrp="1"/>
          </p:cNvSpPr>
          <p:nvPr>
            <p:ph type="body" sz="quarter" idx="15"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hree columns that can be used for text, images, charts, or tables. Click to change text.</a:t>
            </a:r>
          </a:p>
        </p:txBody>
      </p:sp>
      <p:pic>
        <p:nvPicPr>
          <p:cNvPr id="14" name="Graphic 13">
            <a:extLst>
              <a:ext uri="{FF2B5EF4-FFF2-40B4-BE49-F238E27FC236}">
                <a16:creationId xmlns:a16="http://schemas.microsoft.com/office/drawing/2014/main" id="{C325D96E-9A1F-2C40-B466-20E6965D04C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20840605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Four column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9" name="Content Placeholder 8"/>
          <p:cNvSpPr>
            <a:spLocks noGrp="1"/>
          </p:cNvSpPr>
          <p:nvPr>
            <p:ph sz="quarter" idx="12" hasCustomPrompt="1"/>
          </p:nvPr>
        </p:nvSpPr>
        <p:spPr>
          <a:xfrm>
            <a:off x="685800" y="2057400"/>
            <a:ext cx="16256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8"/>
          <p:cNvSpPr>
            <a:spLocks noGrp="1"/>
          </p:cNvSpPr>
          <p:nvPr>
            <p:ph sz="quarter" idx="16" hasCustomPrompt="1"/>
          </p:nvPr>
        </p:nvSpPr>
        <p:spPr>
          <a:xfrm>
            <a:off x="2734733" y="2057400"/>
            <a:ext cx="16256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8"/>
          <p:cNvSpPr>
            <a:spLocks noGrp="1"/>
          </p:cNvSpPr>
          <p:nvPr>
            <p:ph sz="quarter" idx="17" hasCustomPrompt="1"/>
          </p:nvPr>
        </p:nvSpPr>
        <p:spPr>
          <a:xfrm>
            <a:off x="4783666" y="2057400"/>
            <a:ext cx="16256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8"/>
          <p:cNvSpPr>
            <a:spLocks noGrp="1"/>
          </p:cNvSpPr>
          <p:nvPr>
            <p:ph sz="quarter" idx="18" hasCustomPrompt="1"/>
          </p:nvPr>
        </p:nvSpPr>
        <p:spPr>
          <a:xfrm>
            <a:off x="6832600" y="2057400"/>
            <a:ext cx="16256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a:extLst>
              <a:ext uri="{FF2B5EF4-FFF2-40B4-BE49-F238E27FC236}">
                <a16:creationId xmlns:a16="http://schemas.microsoft.com/office/drawing/2014/main" id="{46DFE5DB-F568-BB4B-8769-380BE99F03C4}"/>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four columns that can be used for text, images, charts, or tables. Click to change text.</a:t>
            </a:r>
          </a:p>
        </p:txBody>
      </p:sp>
      <p:pic>
        <p:nvPicPr>
          <p:cNvPr id="16" name="Graphic 15">
            <a:extLst>
              <a:ext uri="{FF2B5EF4-FFF2-40B4-BE49-F238E27FC236}">
                <a16:creationId xmlns:a16="http://schemas.microsoft.com/office/drawing/2014/main" id="{06C5F0AE-7250-614C-AD28-E2E9AE6480C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15773858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lumn with image">
    <p:spTree>
      <p:nvGrpSpPr>
        <p:cNvPr id="1" name=""/>
        <p:cNvGrpSpPr/>
        <p:nvPr/>
      </p:nvGrpSpPr>
      <p:grpSpPr>
        <a:xfrm>
          <a:off x="0" y="0"/>
          <a:ext cx="0" cy="0"/>
          <a:chOff x="0" y="0"/>
          <a:chExt cx="0" cy="0"/>
        </a:xfrm>
      </p:grpSpPr>
      <p:sp>
        <p:nvSpPr>
          <p:cNvPr id="6" name="Picture Placeholder 5"/>
          <p:cNvSpPr>
            <a:spLocks noGrp="1"/>
          </p:cNvSpPr>
          <p:nvPr>
            <p:ph type="pic" sz="quarter" idx="15"/>
          </p:nvPr>
        </p:nvSpPr>
        <p:spPr>
          <a:xfrm>
            <a:off x="0" y="0"/>
            <a:ext cx="4343400" cy="6858000"/>
          </a:xfrm>
          <a:solidFill>
            <a:schemeClr val="bg1">
              <a:lumMod val="85000"/>
            </a:schemeClr>
          </a:solidFill>
        </p:spPr>
        <p:txBody>
          <a:bodyPr/>
          <a:lstStyle/>
          <a:p>
            <a:endParaRPr lang="en-US" dirty="0"/>
          </a:p>
        </p:txBody>
      </p:sp>
      <p:sp>
        <p:nvSpPr>
          <p:cNvPr id="2" name="Title 1"/>
          <p:cNvSpPr>
            <a:spLocks noGrp="1"/>
          </p:cNvSpPr>
          <p:nvPr>
            <p:ph type="title" hasCustomPrompt="1"/>
          </p:nvPr>
        </p:nvSpPr>
        <p:spPr>
          <a:xfrm>
            <a:off x="4800600" y="685800"/>
            <a:ext cx="3657600" cy="895951"/>
          </a:xfrm>
        </p:spPr>
        <p:txBody>
          <a:bodyPr/>
          <a:lstStyle>
            <a:lvl1pPr>
              <a:defRPr baseline="0"/>
            </a:lvl1pPr>
          </a:lstStyle>
          <a:p>
            <a:r>
              <a:rPr lang="en-US" dirty="0"/>
              <a:t>One column and image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10" name="Content Placeholder 8"/>
          <p:cNvSpPr>
            <a:spLocks noGrp="1"/>
          </p:cNvSpPr>
          <p:nvPr>
            <p:ph sz="quarter" idx="13" hasCustomPrompt="1"/>
          </p:nvPr>
        </p:nvSpPr>
        <p:spPr>
          <a:xfrm>
            <a:off x="4800600" y="2586281"/>
            <a:ext cx="3657600" cy="32004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62787494-B12C-C744-9174-3E9193F55C29}"/>
              </a:ext>
            </a:extLst>
          </p:cNvPr>
          <p:cNvSpPr>
            <a:spLocks noGrp="1"/>
          </p:cNvSpPr>
          <p:nvPr>
            <p:ph type="body" sz="quarter" idx="14" hasCustomPrompt="1"/>
          </p:nvPr>
        </p:nvSpPr>
        <p:spPr>
          <a:xfrm>
            <a:off x="4800601" y="1629876"/>
            <a:ext cx="3657600" cy="775597"/>
          </a:xfrm>
        </p:spPr>
        <p:txBody>
          <a:bodyPr/>
          <a:lstStyle>
            <a:lvl1pPr>
              <a:defRPr sz="1400">
                <a:solidFill>
                  <a:schemeClr val="accent1"/>
                </a:solidFill>
              </a:defRPr>
            </a:lvl1pPr>
          </a:lstStyle>
          <a:p>
            <a:pPr lvl="0"/>
            <a:r>
              <a:rPr lang="en-US" dirty="0"/>
              <a:t>This layout features one column that can be used for text, images, charts, or tables. Click to change text.</a:t>
            </a:r>
          </a:p>
        </p:txBody>
      </p:sp>
      <p:pic>
        <p:nvPicPr>
          <p:cNvPr id="12" name="Graphic 11">
            <a:extLst>
              <a:ext uri="{FF2B5EF4-FFF2-40B4-BE49-F238E27FC236}">
                <a16:creationId xmlns:a16="http://schemas.microsoft.com/office/drawing/2014/main" id="{D75E1D1C-E32F-304F-8A37-D85F35A949F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606760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imag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Three image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6" name="Picture Placeholder 5"/>
          <p:cNvSpPr>
            <a:spLocks noGrp="1"/>
          </p:cNvSpPr>
          <p:nvPr>
            <p:ph type="pic" sz="quarter" idx="12"/>
          </p:nvPr>
        </p:nvSpPr>
        <p:spPr>
          <a:xfrm>
            <a:off x="685800" y="2057400"/>
            <a:ext cx="2286000" cy="1828800"/>
          </a:xfrm>
          <a:solidFill>
            <a:schemeClr val="bg1">
              <a:lumMod val="85000"/>
            </a:schemeClr>
          </a:solidFill>
        </p:spPr>
        <p:txBody>
          <a:bodyPr/>
          <a:lstStyle/>
          <a:p>
            <a:endParaRPr lang="en-US" dirty="0"/>
          </a:p>
        </p:txBody>
      </p:sp>
      <p:sp>
        <p:nvSpPr>
          <p:cNvPr id="7" name="Picture Placeholder 5"/>
          <p:cNvSpPr>
            <a:spLocks noGrp="1"/>
          </p:cNvSpPr>
          <p:nvPr>
            <p:ph type="pic" sz="quarter" idx="13"/>
          </p:nvPr>
        </p:nvSpPr>
        <p:spPr>
          <a:xfrm>
            <a:off x="3429000" y="2057400"/>
            <a:ext cx="2286000" cy="1828800"/>
          </a:xfrm>
          <a:solidFill>
            <a:schemeClr val="bg1">
              <a:lumMod val="85000"/>
            </a:schemeClr>
          </a:solidFill>
        </p:spPr>
        <p:txBody>
          <a:bodyPr/>
          <a:lstStyle/>
          <a:p>
            <a:endParaRPr lang="en-US" dirty="0"/>
          </a:p>
        </p:txBody>
      </p:sp>
      <p:sp>
        <p:nvSpPr>
          <p:cNvPr id="8" name="Picture Placeholder 5"/>
          <p:cNvSpPr>
            <a:spLocks noGrp="1"/>
          </p:cNvSpPr>
          <p:nvPr>
            <p:ph type="pic" sz="quarter" idx="14"/>
          </p:nvPr>
        </p:nvSpPr>
        <p:spPr>
          <a:xfrm>
            <a:off x="6172200" y="2057400"/>
            <a:ext cx="2286000" cy="1828800"/>
          </a:xfrm>
          <a:solidFill>
            <a:schemeClr val="bg1">
              <a:lumMod val="85000"/>
            </a:schemeClr>
          </a:solidFill>
        </p:spPr>
        <p:txBody>
          <a:bodyPr/>
          <a:lstStyle/>
          <a:p>
            <a:endParaRPr lang="en-US" dirty="0"/>
          </a:p>
        </p:txBody>
      </p:sp>
      <p:sp>
        <p:nvSpPr>
          <p:cNvPr id="19" name="Text Placeholder 9"/>
          <p:cNvSpPr>
            <a:spLocks noGrp="1"/>
          </p:cNvSpPr>
          <p:nvPr>
            <p:ph type="body" sz="quarter" idx="22" hasCustomPrompt="1"/>
          </p:nvPr>
        </p:nvSpPr>
        <p:spPr>
          <a:xfrm>
            <a:off x="685800" y="4303617"/>
            <a:ext cx="2286000" cy="1018227"/>
          </a:xfrm>
        </p:spPr>
        <p:txBody>
          <a:bodyPr/>
          <a:lstStyle>
            <a:lvl1pPr>
              <a:defRPr baseline="0"/>
            </a:lvl1pPr>
            <a:lvl2pPr>
              <a:defRPr/>
            </a:lvl2pPr>
            <a:lvl3pPr>
              <a:defRPr/>
            </a:lvl3pPr>
            <a:lvl4pPr>
              <a:defRPr/>
            </a:lvl4pPr>
            <a:lvl5pPr>
              <a:defRPr/>
            </a:lvl5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9"/>
          <p:cNvSpPr>
            <a:spLocks noGrp="1"/>
          </p:cNvSpPr>
          <p:nvPr>
            <p:ph type="body" sz="quarter" idx="23" hasCustomPrompt="1"/>
          </p:nvPr>
        </p:nvSpPr>
        <p:spPr>
          <a:xfrm>
            <a:off x="685800" y="4074829"/>
            <a:ext cx="2286000" cy="152349"/>
          </a:xfrm>
        </p:spPr>
        <p:txBody>
          <a:bodyPr wrap="square">
            <a:spAutoFit/>
          </a:bodyPr>
          <a:lstStyle>
            <a:lvl1pPr>
              <a:spcAft>
                <a:spcPts val="0"/>
              </a:spcAft>
              <a:defRPr b="1" baseline="0">
                <a:solidFill>
                  <a:schemeClr val="tx2"/>
                </a:solidFill>
              </a:defRPr>
            </a:lvl1pPr>
          </a:lstStyle>
          <a:p>
            <a:pPr lvl="0"/>
            <a:r>
              <a:rPr lang="en-US" dirty="0"/>
              <a:t>Click to insert title caption</a:t>
            </a:r>
          </a:p>
        </p:txBody>
      </p:sp>
      <p:sp>
        <p:nvSpPr>
          <p:cNvPr id="23" name="Text Placeholder 9"/>
          <p:cNvSpPr>
            <a:spLocks noGrp="1"/>
          </p:cNvSpPr>
          <p:nvPr>
            <p:ph type="body" sz="quarter" idx="26" hasCustomPrompt="1"/>
          </p:nvPr>
        </p:nvSpPr>
        <p:spPr>
          <a:xfrm>
            <a:off x="3429000" y="4303617"/>
            <a:ext cx="2286000" cy="1018227"/>
          </a:xfrm>
        </p:spPr>
        <p:txBody>
          <a:bodyPr/>
          <a:lstStyle>
            <a:lvl1pPr>
              <a:defRPr baseline="0"/>
            </a:lvl1pPr>
            <a:lvl2pPr>
              <a:defRPr/>
            </a:lvl2pPr>
            <a:lvl3pPr>
              <a:defRPr/>
            </a:lvl3pPr>
            <a:lvl4pPr>
              <a:defRPr/>
            </a:lvl4pPr>
            <a:lvl5pPr>
              <a:defRPr/>
            </a:lvl5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9"/>
          <p:cNvSpPr>
            <a:spLocks noGrp="1"/>
          </p:cNvSpPr>
          <p:nvPr>
            <p:ph type="body" sz="quarter" idx="27" hasCustomPrompt="1"/>
          </p:nvPr>
        </p:nvSpPr>
        <p:spPr>
          <a:xfrm>
            <a:off x="3429000" y="4074829"/>
            <a:ext cx="2286000" cy="152349"/>
          </a:xfrm>
        </p:spPr>
        <p:txBody>
          <a:bodyPr wrap="square">
            <a:spAutoFit/>
          </a:bodyPr>
          <a:lstStyle>
            <a:lvl1pPr>
              <a:spcAft>
                <a:spcPts val="0"/>
              </a:spcAft>
              <a:defRPr b="1" baseline="0">
                <a:solidFill>
                  <a:schemeClr val="tx2"/>
                </a:solidFill>
              </a:defRPr>
            </a:lvl1pPr>
          </a:lstStyle>
          <a:p>
            <a:pPr lvl="0"/>
            <a:r>
              <a:rPr lang="en-US" dirty="0"/>
              <a:t>Click to insert title caption</a:t>
            </a:r>
          </a:p>
        </p:txBody>
      </p:sp>
      <p:sp>
        <p:nvSpPr>
          <p:cNvPr id="27" name="Text Placeholder 9"/>
          <p:cNvSpPr>
            <a:spLocks noGrp="1"/>
          </p:cNvSpPr>
          <p:nvPr>
            <p:ph type="body" sz="quarter" idx="28" hasCustomPrompt="1"/>
          </p:nvPr>
        </p:nvSpPr>
        <p:spPr>
          <a:xfrm>
            <a:off x="6172200" y="4303617"/>
            <a:ext cx="2286000" cy="1018227"/>
          </a:xfrm>
        </p:spPr>
        <p:txBody>
          <a:bodyPr/>
          <a:lstStyle>
            <a:lvl1pPr>
              <a:defRPr baseline="0"/>
            </a:lvl1pPr>
            <a:lvl2pPr>
              <a:defRPr/>
            </a:lvl2pPr>
            <a:lvl3pPr>
              <a:defRPr/>
            </a:lvl3pPr>
            <a:lvl4pPr>
              <a:defRPr/>
            </a:lvl4pPr>
            <a:lvl5pPr>
              <a:defRPr/>
            </a:lvl5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9"/>
          <p:cNvSpPr>
            <a:spLocks noGrp="1"/>
          </p:cNvSpPr>
          <p:nvPr>
            <p:ph type="body" sz="quarter" idx="29" hasCustomPrompt="1"/>
          </p:nvPr>
        </p:nvSpPr>
        <p:spPr>
          <a:xfrm>
            <a:off x="6172200" y="4074829"/>
            <a:ext cx="2286000" cy="152349"/>
          </a:xfrm>
        </p:spPr>
        <p:txBody>
          <a:bodyPr wrap="square">
            <a:spAutoFit/>
          </a:bodyPr>
          <a:lstStyle>
            <a:lvl1pPr>
              <a:spcAft>
                <a:spcPts val="0"/>
              </a:spcAft>
              <a:defRPr b="1" baseline="0">
                <a:solidFill>
                  <a:schemeClr val="tx2"/>
                </a:solidFill>
              </a:defRPr>
            </a:lvl1pPr>
          </a:lstStyle>
          <a:p>
            <a:pPr lvl="0"/>
            <a:r>
              <a:rPr lang="en-US" dirty="0"/>
              <a:t>Click to insert title caption</a:t>
            </a:r>
          </a:p>
        </p:txBody>
      </p:sp>
      <p:sp>
        <p:nvSpPr>
          <p:cNvPr id="15" name="Text Placeholder 11">
            <a:extLst>
              <a:ext uri="{FF2B5EF4-FFF2-40B4-BE49-F238E27FC236}">
                <a16:creationId xmlns:a16="http://schemas.microsoft.com/office/drawing/2014/main" id="{31586C1E-D627-BF44-9A2A-71374F1B66EC}"/>
              </a:ext>
            </a:extLst>
          </p:cNvPr>
          <p:cNvSpPr>
            <a:spLocks noGrp="1"/>
          </p:cNvSpPr>
          <p:nvPr>
            <p:ph type="body" sz="quarter" idx="30"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hree image placeholders and content placeholders that can hold text, images, charts, or tables.</a:t>
            </a:r>
          </a:p>
        </p:txBody>
      </p:sp>
      <p:pic>
        <p:nvPicPr>
          <p:cNvPr id="18" name="Graphic 17">
            <a:extLst>
              <a:ext uri="{FF2B5EF4-FFF2-40B4-BE49-F238E27FC236}">
                <a16:creationId xmlns:a16="http://schemas.microsoft.com/office/drawing/2014/main" id="{160E15AF-BE77-DD47-A121-E86D9268680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11527383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image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Four image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6" name="Picture Placeholder 5"/>
          <p:cNvSpPr>
            <a:spLocks noGrp="1"/>
          </p:cNvSpPr>
          <p:nvPr>
            <p:ph type="pic" sz="quarter" idx="12"/>
          </p:nvPr>
        </p:nvSpPr>
        <p:spPr>
          <a:xfrm>
            <a:off x="685800" y="2057400"/>
            <a:ext cx="1638300" cy="1202407"/>
          </a:xfrm>
          <a:solidFill>
            <a:schemeClr val="bg1">
              <a:lumMod val="85000"/>
            </a:schemeClr>
          </a:solidFill>
        </p:spPr>
        <p:txBody>
          <a:bodyPr/>
          <a:lstStyle/>
          <a:p>
            <a:endParaRPr lang="en-US" dirty="0"/>
          </a:p>
        </p:txBody>
      </p:sp>
      <p:sp>
        <p:nvSpPr>
          <p:cNvPr id="7" name="Picture Placeholder 5"/>
          <p:cNvSpPr>
            <a:spLocks noGrp="1"/>
          </p:cNvSpPr>
          <p:nvPr>
            <p:ph type="pic" sz="quarter" idx="13"/>
          </p:nvPr>
        </p:nvSpPr>
        <p:spPr>
          <a:xfrm>
            <a:off x="4800600" y="2057400"/>
            <a:ext cx="1638300" cy="1202407"/>
          </a:xfrm>
          <a:solidFill>
            <a:schemeClr val="bg1">
              <a:lumMod val="85000"/>
            </a:schemeClr>
          </a:solidFill>
        </p:spPr>
        <p:txBody>
          <a:bodyPr/>
          <a:lstStyle/>
          <a:p>
            <a:endParaRPr lang="en-US" dirty="0"/>
          </a:p>
        </p:txBody>
      </p:sp>
      <p:sp>
        <p:nvSpPr>
          <p:cNvPr id="10" name="Text Placeholder 9"/>
          <p:cNvSpPr>
            <a:spLocks noGrp="1"/>
          </p:cNvSpPr>
          <p:nvPr>
            <p:ph type="body" sz="quarter" idx="15" hasCustomPrompt="1"/>
          </p:nvPr>
        </p:nvSpPr>
        <p:spPr>
          <a:xfrm>
            <a:off x="2419350" y="2294460"/>
            <a:ext cx="192405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p:cNvSpPr>
            <a:spLocks noGrp="1"/>
          </p:cNvSpPr>
          <p:nvPr>
            <p:ph type="body" sz="quarter" idx="19" hasCustomPrompt="1"/>
          </p:nvPr>
        </p:nvSpPr>
        <p:spPr>
          <a:xfrm>
            <a:off x="2419350" y="2065672"/>
            <a:ext cx="1924050" cy="152349"/>
          </a:xfrm>
        </p:spPr>
        <p:txBody>
          <a:bodyPr>
            <a:spAutoFit/>
          </a:bodyPr>
          <a:lstStyle>
            <a:lvl1pPr>
              <a:spcAft>
                <a:spcPts val="0"/>
              </a:spcAft>
              <a:defRPr b="1" baseline="0">
                <a:solidFill>
                  <a:schemeClr val="tx2"/>
                </a:solidFill>
              </a:defRPr>
            </a:lvl1pPr>
          </a:lstStyle>
          <a:p>
            <a:pPr lvl="0"/>
            <a:r>
              <a:rPr lang="en-US" dirty="0"/>
              <a:t>Click to insert title caption</a:t>
            </a:r>
          </a:p>
        </p:txBody>
      </p:sp>
      <p:sp>
        <p:nvSpPr>
          <p:cNvPr id="15" name="Text Placeholder 9"/>
          <p:cNvSpPr>
            <a:spLocks noGrp="1"/>
          </p:cNvSpPr>
          <p:nvPr>
            <p:ph type="body" sz="quarter" idx="22" hasCustomPrompt="1"/>
          </p:nvPr>
        </p:nvSpPr>
        <p:spPr>
          <a:xfrm>
            <a:off x="6534150" y="2294460"/>
            <a:ext cx="192405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9"/>
          <p:cNvSpPr>
            <a:spLocks noGrp="1"/>
          </p:cNvSpPr>
          <p:nvPr>
            <p:ph type="body" sz="quarter" idx="23" hasCustomPrompt="1"/>
          </p:nvPr>
        </p:nvSpPr>
        <p:spPr>
          <a:xfrm>
            <a:off x="6534150" y="2065672"/>
            <a:ext cx="1924050" cy="152349"/>
          </a:xfrm>
        </p:spPr>
        <p:txBody>
          <a:bodyPr>
            <a:spAutoFit/>
          </a:bodyPr>
          <a:lstStyle>
            <a:lvl1pPr>
              <a:spcAft>
                <a:spcPts val="0"/>
              </a:spcAft>
              <a:defRPr b="1" baseline="0">
                <a:solidFill>
                  <a:schemeClr val="tx2"/>
                </a:solidFill>
              </a:defRPr>
            </a:lvl1pPr>
          </a:lstStyle>
          <a:p>
            <a:pPr lvl="0"/>
            <a:r>
              <a:rPr lang="en-US" dirty="0"/>
              <a:t>Click to insert title caption</a:t>
            </a:r>
          </a:p>
        </p:txBody>
      </p:sp>
      <p:sp>
        <p:nvSpPr>
          <p:cNvPr id="19" name="Picture Placeholder 5"/>
          <p:cNvSpPr>
            <a:spLocks noGrp="1"/>
          </p:cNvSpPr>
          <p:nvPr>
            <p:ph type="pic" sz="quarter" idx="24"/>
          </p:nvPr>
        </p:nvSpPr>
        <p:spPr>
          <a:xfrm>
            <a:off x="685800" y="4064762"/>
            <a:ext cx="1638300" cy="1202407"/>
          </a:xfrm>
          <a:solidFill>
            <a:schemeClr val="bg1">
              <a:lumMod val="85000"/>
            </a:schemeClr>
          </a:solidFill>
        </p:spPr>
        <p:txBody>
          <a:bodyPr/>
          <a:lstStyle/>
          <a:p>
            <a:endParaRPr lang="en-US" dirty="0"/>
          </a:p>
        </p:txBody>
      </p:sp>
      <p:sp>
        <p:nvSpPr>
          <p:cNvPr id="20" name="Picture Placeholder 5"/>
          <p:cNvSpPr>
            <a:spLocks noGrp="1"/>
          </p:cNvSpPr>
          <p:nvPr>
            <p:ph type="pic" sz="quarter" idx="25"/>
          </p:nvPr>
        </p:nvSpPr>
        <p:spPr>
          <a:xfrm>
            <a:off x="4800600" y="4064762"/>
            <a:ext cx="1638300" cy="1202407"/>
          </a:xfrm>
          <a:solidFill>
            <a:schemeClr val="bg1">
              <a:lumMod val="85000"/>
            </a:schemeClr>
          </a:solidFill>
        </p:spPr>
        <p:txBody>
          <a:bodyPr/>
          <a:lstStyle/>
          <a:p>
            <a:endParaRPr lang="en-US" dirty="0"/>
          </a:p>
        </p:txBody>
      </p:sp>
      <p:sp>
        <p:nvSpPr>
          <p:cNvPr id="25" name="Text Placeholder 9"/>
          <p:cNvSpPr>
            <a:spLocks noGrp="1"/>
          </p:cNvSpPr>
          <p:nvPr>
            <p:ph type="body" sz="quarter" idx="26" hasCustomPrompt="1"/>
          </p:nvPr>
        </p:nvSpPr>
        <p:spPr>
          <a:xfrm>
            <a:off x="2419350" y="4293550"/>
            <a:ext cx="192405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9"/>
          <p:cNvSpPr>
            <a:spLocks noGrp="1"/>
          </p:cNvSpPr>
          <p:nvPr>
            <p:ph type="body" sz="quarter" idx="27" hasCustomPrompt="1"/>
          </p:nvPr>
        </p:nvSpPr>
        <p:spPr>
          <a:xfrm>
            <a:off x="2419350" y="4064762"/>
            <a:ext cx="1924050" cy="152349"/>
          </a:xfrm>
        </p:spPr>
        <p:txBody>
          <a:bodyPr>
            <a:spAutoFit/>
          </a:bodyPr>
          <a:lstStyle>
            <a:lvl1pPr>
              <a:spcAft>
                <a:spcPts val="0"/>
              </a:spcAft>
              <a:defRPr b="1" baseline="0">
                <a:solidFill>
                  <a:schemeClr val="tx2"/>
                </a:solidFill>
              </a:defRPr>
            </a:lvl1pPr>
          </a:lstStyle>
          <a:p>
            <a:pPr lvl="0"/>
            <a:r>
              <a:rPr lang="en-US" dirty="0"/>
              <a:t>Click to insert title caption</a:t>
            </a:r>
          </a:p>
        </p:txBody>
      </p:sp>
      <p:sp>
        <p:nvSpPr>
          <p:cNvPr id="27" name="Text Placeholder 9"/>
          <p:cNvSpPr>
            <a:spLocks noGrp="1"/>
          </p:cNvSpPr>
          <p:nvPr>
            <p:ph type="body" sz="quarter" idx="28" hasCustomPrompt="1"/>
          </p:nvPr>
        </p:nvSpPr>
        <p:spPr>
          <a:xfrm>
            <a:off x="6534150" y="4293550"/>
            <a:ext cx="192405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ext Placeholder 9"/>
          <p:cNvSpPr>
            <a:spLocks noGrp="1"/>
          </p:cNvSpPr>
          <p:nvPr>
            <p:ph type="body" sz="quarter" idx="29" hasCustomPrompt="1"/>
          </p:nvPr>
        </p:nvSpPr>
        <p:spPr>
          <a:xfrm>
            <a:off x="6534150" y="4064762"/>
            <a:ext cx="1924050" cy="152349"/>
          </a:xfrm>
        </p:spPr>
        <p:txBody>
          <a:bodyPr>
            <a:spAutoFit/>
          </a:bodyPr>
          <a:lstStyle>
            <a:lvl1pPr>
              <a:spcAft>
                <a:spcPts val="0"/>
              </a:spcAft>
              <a:defRPr b="1" baseline="0">
                <a:solidFill>
                  <a:schemeClr val="tx2"/>
                </a:solidFill>
              </a:defRPr>
            </a:lvl1pPr>
          </a:lstStyle>
          <a:p>
            <a:pPr lvl="0"/>
            <a:r>
              <a:rPr lang="en-US" dirty="0"/>
              <a:t>Click to insert title caption</a:t>
            </a:r>
          </a:p>
        </p:txBody>
      </p:sp>
      <p:sp>
        <p:nvSpPr>
          <p:cNvPr id="18" name="Text Placeholder 11">
            <a:extLst>
              <a:ext uri="{FF2B5EF4-FFF2-40B4-BE49-F238E27FC236}">
                <a16:creationId xmlns:a16="http://schemas.microsoft.com/office/drawing/2014/main" id="{FB6871BF-BA76-7C41-806C-C4688F99D689}"/>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four image placeholders and content placeholders that can hold text, images, charts, or tables.</a:t>
            </a:r>
          </a:p>
        </p:txBody>
      </p:sp>
      <p:pic>
        <p:nvPicPr>
          <p:cNvPr id="23" name="Graphic 22">
            <a:extLst>
              <a:ext uri="{FF2B5EF4-FFF2-40B4-BE49-F238E27FC236}">
                <a16:creationId xmlns:a16="http://schemas.microsoft.com/office/drawing/2014/main" id="{7464A5A3-8603-A94D-BBD8-942AEC7952C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5337670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 image portfolio/bi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Five image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6" name="Picture Placeholder 5"/>
          <p:cNvSpPr>
            <a:spLocks noGrp="1"/>
          </p:cNvSpPr>
          <p:nvPr>
            <p:ph type="pic" sz="quarter" idx="12"/>
          </p:nvPr>
        </p:nvSpPr>
        <p:spPr>
          <a:xfrm>
            <a:off x="685800" y="2057400"/>
            <a:ext cx="1371600" cy="1828800"/>
          </a:xfrm>
          <a:solidFill>
            <a:schemeClr val="bg1">
              <a:lumMod val="85000"/>
            </a:schemeClr>
          </a:solidFill>
        </p:spPr>
        <p:txBody>
          <a:bodyPr/>
          <a:lstStyle/>
          <a:p>
            <a:endParaRPr lang="en-US" dirty="0"/>
          </a:p>
        </p:txBody>
      </p:sp>
      <p:sp>
        <p:nvSpPr>
          <p:cNvPr id="15" name="Picture Placeholder 5"/>
          <p:cNvSpPr>
            <a:spLocks noGrp="1"/>
          </p:cNvSpPr>
          <p:nvPr>
            <p:ph type="pic" sz="quarter" idx="18"/>
          </p:nvPr>
        </p:nvSpPr>
        <p:spPr>
          <a:xfrm>
            <a:off x="2286000" y="2057400"/>
            <a:ext cx="1371600" cy="1828800"/>
          </a:xfrm>
          <a:solidFill>
            <a:schemeClr val="bg1">
              <a:lumMod val="85000"/>
            </a:schemeClr>
          </a:solidFill>
        </p:spPr>
        <p:txBody>
          <a:bodyPr/>
          <a:lstStyle/>
          <a:p>
            <a:endParaRPr lang="en-US" dirty="0"/>
          </a:p>
        </p:txBody>
      </p:sp>
      <p:sp>
        <p:nvSpPr>
          <p:cNvPr id="16" name="Picture Placeholder 5"/>
          <p:cNvSpPr>
            <a:spLocks noGrp="1"/>
          </p:cNvSpPr>
          <p:nvPr>
            <p:ph type="pic" sz="quarter" idx="19"/>
          </p:nvPr>
        </p:nvSpPr>
        <p:spPr>
          <a:xfrm>
            <a:off x="3886200" y="2057400"/>
            <a:ext cx="1371600" cy="1828800"/>
          </a:xfrm>
          <a:solidFill>
            <a:schemeClr val="bg1">
              <a:lumMod val="85000"/>
            </a:schemeClr>
          </a:solidFill>
        </p:spPr>
        <p:txBody>
          <a:bodyPr/>
          <a:lstStyle/>
          <a:p>
            <a:endParaRPr lang="en-US" dirty="0"/>
          </a:p>
        </p:txBody>
      </p:sp>
      <p:sp>
        <p:nvSpPr>
          <p:cNvPr id="17" name="Picture Placeholder 5"/>
          <p:cNvSpPr>
            <a:spLocks noGrp="1"/>
          </p:cNvSpPr>
          <p:nvPr>
            <p:ph type="pic" sz="quarter" idx="20"/>
          </p:nvPr>
        </p:nvSpPr>
        <p:spPr>
          <a:xfrm>
            <a:off x="5486400" y="2057400"/>
            <a:ext cx="1371600" cy="1828800"/>
          </a:xfrm>
          <a:solidFill>
            <a:schemeClr val="bg1">
              <a:lumMod val="85000"/>
            </a:schemeClr>
          </a:solidFill>
        </p:spPr>
        <p:txBody>
          <a:bodyPr/>
          <a:lstStyle/>
          <a:p>
            <a:endParaRPr lang="en-US" dirty="0"/>
          </a:p>
        </p:txBody>
      </p:sp>
      <p:sp>
        <p:nvSpPr>
          <p:cNvPr id="18" name="Picture Placeholder 5"/>
          <p:cNvSpPr>
            <a:spLocks noGrp="1"/>
          </p:cNvSpPr>
          <p:nvPr>
            <p:ph type="pic" sz="quarter" idx="21"/>
          </p:nvPr>
        </p:nvSpPr>
        <p:spPr>
          <a:xfrm>
            <a:off x="7086600" y="2057400"/>
            <a:ext cx="1371600" cy="1828800"/>
          </a:xfrm>
          <a:solidFill>
            <a:schemeClr val="bg1">
              <a:lumMod val="85000"/>
            </a:schemeClr>
          </a:solidFill>
        </p:spPr>
        <p:txBody>
          <a:bodyPr/>
          <a:lstStyle/>
          <a:p>
            <a:endParaRPr lang="en-US" dirty="0"/>
          </a:p>
        </p:txBody>
      </p:sp>
      <p:sp>
        <p:nvSpPr>
          <p:cNvPr id="26" name="Text Placeholder 9"/>
          <p:cNvSpPr>
            <a:spLocks noGrp="1"/>
          </p:cNvSpPr>
          <p:nvPr>
            <p:ph type="body" sz="quarter" idx="22" hasCustomPrompt="1"/>
          </p:nvPr>
        </p:nvSpPr>
        <p:spPr>
          <a:xfrm>
            <a:off x="685800" y="4303617"/>
            <a:ext cx="137160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9"/>
          <p:cNvSpPr>
            <a:spLocks noGrp="1"/>
          </p:cNvSpPr>
          <p:nvPr>
            <p:ph type="body" sz="quarter" idx="23" hasCustomPrompt="1"/>
          </p:nvPr>
        </p:nvSpPr>
        <p:spPr>
          <a:xfrm>
            <a:off x="685800" y="4074829"/>
            <a:ext cx="1371600" cy="152349"/>
          </a:xfrm>
        </p:spPr>
        <p:txBody>
          <a:bodyPr wrap="square">
            <a:spAutoFit/>
          </a:bodyPr>
          <a:lstStyle>
            <a:lvl1pPr>
              <a:spcAft>
                <a:spcPts val="0"/>
              </a:spcAft>
              <a:defRPr b="1" baseline="0">
                <a:solidFill>
                  <a:schemeClr val="tx2"/>
                </a:solidFill>
              </a:defRPr>
            </a:lvl1pPr>
          </a:lstStyle>
          <a:p>
            <a:pPr lvl="0"/>
            <a:r>
              <a:rPr lang="en-US" dirty="0"/>
              <a:t>Insert title caption</a:t>
            </a:r>
          </a:p>
        </p:txBody>
      </p:sp>
      <p:sp>
        <p:nvSpPr>
          <p:cNvPr id="28" name="Text Placeholder 9"/>
          <p:cNvSpPr>
            <a:spLocks noGrp="1"/>
          </p:cNvSpPr>
          <p:nvPr>
            <p:ph type="body" sz="quarter" idx="29" hasCustomPrompt="1"/>
          </p:nvPr>
        </p:nvSpPr>
        <p:spPr>
          <a:xfrm>
            <a:off x="2286000" y="4303617"/>
            <a:ext cx="137160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9"/>
          <p:cNvSpPr>
            <a:spLocks noGrp="1"/>
          </p:cNvSpPr>
          <p:nvPr>
            <p:ph type="body" sz="quarter" idx="30" hasCustomPrompt="1"/>
          </p:nvPr>
        </p:nvSpPr>
        <p:spPr>
          <a:xfrm>
            <a:off x="2286000" y="4074829"/>
            <a:ext cx="1371600" cy="152349"/>
          </a:xfrm>
        </p:spPr>
        <p:txBody>
          <a:bodyPr wrap="square">
            <a:spAutoFit/>
          </a:bodyPr>
          <a:lstStyle>
            <a:lvl1pPr>
              <a:spcAft>
                <a:spcPts val="0"/>
              </a:spcAft>
              <a:defRPr b="1" baseline="0">
                <a:solidFill>
                  <a:schemeClr val="tx2"/>
                </a:solidFill>
              </a:defRPr>
            </a:lvl1pPr>
          </a:lstStyle>
          <a:p>
            <a:pPr lvl="0"/>
            <a:r>
              <a:rPr lang="en-US" dirty="0"/>
              <a:t>Insert title caption</a:t>
            </a:r>
          </a:p>
        </p:txBody>
      </p:sp>
      <p:sp>
        <p:nvSpPr>
          <p:cNvPr id="30" name="Text Placeholder 9"/>
          <p:cNvSpPr>
            <a:spLocks noGrp="1"/>
          </p:cNvSpPr>
          <p:nvPr>
            <p:ph type="body" sz="quarter" idx="31" hasCustomPrompt="1"/>
          </p:nvPr>
        </p:nvSpPr>
        <p:spPr>
          <a:xfrm>
            <a:off x="3886200" y="4303617"/>
            <a:ext cx="137160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Text Placeholder 9"/>
          <p:cNvSpPr>
            <a:spLocks noGrp="1"/>
          </p:cNvSpPr>
          <p:nvPr>
            <p:ph type="body" sz="quarter" idx="32" hasCustomPrompt="1"/>
          </p:nvPr>
        </p:nvSpPr>
        <p:spPr>
          <a:xfrm>
            <a:off x="3886200" y="4074829"/>
            <a:ext cx="1371600" cy="152349"/>
          </a:xfrm>
        </p:spPr>
        <p:txBody>
          <a:bodyPr wrap="square">
            <a:spAutoFit/>
          </a:bodyPr>
          <a:lstStyle>
            <a:lvl1pPr>
              <a:spcAft>
                <a:spcPts val="0"/>
              </a:spcAft>
              <a:defRPr b="1" baseline="0">
                <a:solidFill>
                  <a:schemeClr val="tx2"/>
                </a:solidFill>
              </a:defRPr>
            </a:lvl1pPr>
          </a:lstStyle>
          <a:p>
            <a:pPr lvl="0"/>
            <a:r>
              <a:rPr lang="en-US" dirty="0"/>
              <a:t>Insert title caption</a:t>
            </a:r>
          </a:p>
        </p:txBody>
      </p:sp>
      <p:sp>
        <p:nvSpPr>
          <p:cNvPr id="32" name="Text Placeholder 9"/>
          <p:cNvSpPr>
            <a:spLocks noGrp="1"/>
          </p:cNvSpPr>
          <p:nvPr>
            <p:ph type="body" sz="quarter" idx="33" hasCustomPrompt="1"/>
          </p:nvPr>
        </p:nvSpPr>
        <p:spPr>
          <a:xfrm>
            <a:off x="5486400" y="4303617"/>
            <a:ext cx="137160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ext Placeholder 9"/>
          <p:cNvSpPr>
            <a:spLocks noGrp="1"/>
          </p:cNvSpPr>
          <p:nvPr>
            <p:ph type="body" sz="quarter" idx="34" hasCustomPrompt="1"/>
          </p:nvPr>
        </p:nvSpPr>
        <p:spPr>
          <a:xfrm>
            <a:off x="5486400" y="4074829"/>
            <a:ext cx="1371600" cy="152349"/>
          </a:xfrm>
        </p:spPr>
        <p:txBody>
          <a:bodyPr wrap="square">
            <a:spAutoFit/>
          </a:bodyPr>
          <a:lstStyle>
            <a:lvl1pPr>
              <a:spcAft>
                <a:spcPts val="0"/>
              </a:spcAft>
              <a:defRPr b="1" baseline="0">
                <a:solidFill>
                  <a:schemeClr val="tx2"/>
                </a:solidFill>
              </a:defRPr>
            </a:lvl1pPr>
          </a:lstStyle>
          <a:p>
            <a:pPr lvl="0"/>
            <a:r>
              <a:rPr lang="en-US" dirty="0"/>
              <a:t>Insert title caption</a:t>
            </a:r>
          </a:p>
        </p:txBody>
      </p:sp>
      <p:sp>
        <p:nvSpPr>
          <p:cNvPr id="34" name="Text Placeholder 9"/>
          <p:cNvSpPr>
            <a:spLocks noGrp="1"/>
          </p:cNvSpPr>
          <p:nvPr>
            <p:ph type="body" sz="quarter" idx="35" hasCustomPrompt="1"/>
          </p:nvPr>
        </p:nvSpPr>
        <p:spPr>
          <a:xfrm>
            <a:off x="7086600" y="4303617"/>
            <a:ext cx="1371600" cy="698500"/>
          </a:xfrm>
        </p:spPr>
        <p:txBody>
          <a:bodyPr/>
          <a:lstStyle>
            <a:lvl1pPr>
              <a:defRPr baseline="0"/>
            </a:lvl1pPr>
          </a:lstStyle>
          <a:p>
            <a:pPr lvl="0"/>
            <a:r>
              <a:rPr lang="en-US" dirty="0"/>
              <a:t>Click to insert secondary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Text Placeholder 9"/>
          <p:cNvSpPr>
            <a:spLocks noGrp="1"/>
          </p:cNvSpPr>
          <p:nvPr>
            <p:ph type="body" sz="quarter" idx="36" hasCustomPrompt="1"/>
          </p:nvPr>
        </p:nvSpPr>
        <p:spPr>
          <a:xfrm>
            <a:off x="7086600" y="4074829"/>
            <a:ext cx="1371600" cy="152349"/>
          </a:xfrm>
        </p:spPr>
        <p:txBody>
          <a:bodyPr wrap="square">
            <a:spAutoFit/>
          </a:bodyPr>
          <a:lstStyle>
            <a:lvl1pPr>
              <a:spcAft>
                <a:spcPts val="0"/>
              </a:spcAft>
              <a:defRPr b="1" baseline="0">
                <a:solidFill>
                  <a:schemeClr val="tx2"/>
                </a:solidFill>
              </a:defRPr>
            </a:lvl1pPr>
          </a:lstStyle>
          <a:p>
            <a:pPr lvl="0"/>
            <a:r>
              <a:rPr lang="en-US" dirty="0"/>
              <a:t>Insert title caption</a:t>
            </a:r>
          </a:p>
        </p:txBody>
      </p:sp>
      <p:sp>
        <p:nvSpPr>
          <p:cNvPr id="21" name="Text Placeholder 11">
            <a:extLst>
              <a:ext uri="{FF2B5EF4-FFF2-40B4-BE49-F238E27FC236}">
                <a16:creationId xmlns:a16="http://schemas.microsoft.com/office/drawing/2014/main" id="{4842CBD2-9A9F-7C4C-B797-F3EEA902992D}"/>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five image placeholders and content placeholders that can hold text, images, charts, or tables.</a:t>
            </a:r>
          </a:p>
        </p:txBody>
      </p:sp>
      <p:pic>
        <p:nvPicPr>
          <p:cNvPr id="24" name="Graphic 23">
            <a:extLst>
              <a:ext uri="{FF2B5EF4-FFF2-40B4-BE49-F238E27FC236}">
                <a16:creationId xmlns:a16="http://schemas.microsoft.com/office/drawing/2014/main" id="{F701803C-09CD-B24E-B937-27ABEEB14A9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9026861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6" name="Chart Placeholder 5"/>
          <p:cNvSpPr>
            <a:spLocks noGrp="1"/>
          </p:cNvSpPr>
          <p:nvPr>
            <p:ph type="chart" sz="quarter" idx="16" hasCustomPrompt="1"/>
          </p:nvPr>
        </p:nvSpPr>
        <p:spPr>
          <a:xfrm>
            <a:off x="685800" y="2057400"/>
            <a:ext cx="7772400" cy="4114800"/>
          </a:xfrm>
        </p:spPr>
        <p:txBody>
          <a:bodyPr/>
          <a:lstStyle>
            <a:lvl1pPr algn="ctr">
              <a:defRPr baseline="0"/>
            </a:lvl1pPr>
          </a:lstStyle>
          <a:p>
            <a:r>
              <a:rPr lang="en-US" dirty="0"/>
              <a:t>Click to insert chart</a:t>
            </a:r>
          </a:p>
        </p:txBody>
      </p:sp>
      <p:sp>
        <p:nvSpPr>
          <p:cNvPr id="7" name="Text Placeholder 11">
            <a:extLst>
              <a:ext uri="{FF2B5EF4-FFF2-40B4-BE49-F238E27FC236}">
                <a16:creationId xmlns:a16="http://schemas.microsoft.com/office/drawing/2014/main" id="{A517EB82-07CD-AF48-B1BC-C6A2287E0CD8}"/>
              </a:ext>
            </a:extLst>
          </p:cNvPr>
          <p:cNvSpPr>
            <a:spLocks noGrp="1"/>
          </p:cNvSpPr>
          <p:nvPr>
            <p:ph type="body" sz="quarter" idx="14" hasCustomPrompt="1"/>
          </p:nvPr>
        </p:nvSpPr>
        <p:spPr>
          <a:xfrm>
            <a:off x="685800" y="1143000"/>
            <a:ext cx="6648061" cy="193899"/>
          </a:xfrm>
        </p:spPr>
        <p:txBody>
          <a:bodyPr/>
          <a:lstStyle>
            <a:lvl1pPr>
              <a:defRPr sz="1400">
                <a:solidFill>
                  <a:schemeClr val="accent1"/>
                </a:solidFill>
              </a:defRPr>
            </a:lvl1pPr>
          </a:lstStyle>
          <a:p>
            <a:pPr lvl="0"/>
            <a:r>
              <a:rPr lang="en-US" dirty="0"/>
              <a:t>This layout can be used to create a large chart.</a:t>
            </a:r>
          </a:p>
        </p:txBody>
      </p:sp>
      <p:pic>
        <p:nvPicPr>
          <p:cNvPr id="10" name="Graphic 9">
            <a:extLst>
              <a:ext uri="{FF2B5EF4-FFF2-40B4-BE49-F238E27FC236}">
                <a16:creationId xmlns:a16="http://schemas.microsoft.com/office/drawing/2014/main" id="{03BA6AA6-7E8D-7C46-80DC-3980C199451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4200495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7" name="Table Placeholder 6"/>
          <p:cNvSpPr>
            <a:spLocks noGrp="1"/>
          </p:cNvSpPr>
          <p:nvPr>
            <p:ph type="tbl" sz="quarter" idx="16"/>
          </p:nvPr>
        </p:nvSpPr>
        <p:spPr>
          <a:xfrm>
            <a:off x="685800" y="2057400"/>
            <a:ext cx="7772400" cy="4114800"/>
          </a:xfrm>
        </p:spPr>
        <p:txBody>
          <a:bodyPr/>
          <a:lstStyle/>
          <a:p>
            <a:endParaRPr lang="en-US" dirty="0"/>
          </a:p>
        </p:txBody>
      </p:sp>
      <p:sp>
        <p:nvSpPr>
          <p:cNvPr id="9" name="Text Placeholder 11">
            <a:extLst>
              <a:ext uri="{FF2B5EF4-FFF2-40B4-BE49-F238E27FC236}">
                <a16:creationId xmlns:a16="http://schemas.microsoft.com/office/drawing/2014/main" id="{020A0DB9-46C9-8348-B7D6-49A656702CBF}"/>
              </a:ext>
            </a:extLst>
          </p:cNvPr>
          <p:cNvSpPr>
            <a:spLocks noGrp="1"/>
          </p:cNvSpPr>
          <p:nvPr>
            <p:ph type="body" sz="quarter" idx="14" hasCustomPrompt="1"/>
          </p:nvPr>
        </p:nvSpPr>
        <p:spPr>
          <a:xfrm>
            <a:off x="685800" y="1143000"/>
            <a:ext cx="6648061" cy="193899"/>
          </a:xfrm>
        </p:spPr>
        <p:txBody>
          <a:bodyPr/>
          <a:lstStyle>
            <a:lvl1pPr>
              <a:defRPr sz="1400">
                <a:solidFill>
                  <a:schemeClr val="accent1"/>
                </a:solidFill>
              </a:defRPr>
            </a:lvl1pPr>
          </a:lstStyle>
          <a:p>
            <a:pPr lvl="0"/>
            <a:r>
              <a:rPr lang="en-US" dirty="0"/>
              <a:t>This layout can be used to create a large table.</a:t>
            </a:r>
          </a:p>
        </p:txBody>
      </p:sp>
      <p:pic>
        <p:nvPicPr>
          <p:cNvPr id="11" name="Graphic 10">
            <a:extLst>
              <a:ext uri="{FF2B5EF4-FFF2-40B4-BE49-F238E27FC236}">
                <a16:creationId xmlns:a16="http://schemas.microsoft.com/office/drawing/2014/main" id="{EB1C35EB-79D4-2F44-A25D-58C29C60BEB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18956134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for custom layou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6" name="Text Placeholder 11">
            <a:extLst>
              <a:ext uri="{FF2B5EF4-FFF2-40B4-BE49-F238E27FC236}">
                <a16:creationId xmlns:a16="http://schemas.microsoft.com/office/drawing/2014/main" id="{1DEF89BC-1291-F844-A2B5-285446093780}"/>
              </a:ext>
            </a:extLst>
          </p:cNvPr>
          <p:cNvSpPr>
            <a:spLocks noGrp="1"/>
          </p:cNvSpPr>
          <p:nvPr>
            <p:ph type="body" sz="quarter" idx="14" hasCustomPrompt="1"/>
          </p:nvPr>
        </p:nvSpPr>
        <p:spPr>
          <a:xfrm>
            <a:off x="685800" y="1143000"/>
            <a:ext cx="6648061" cy="193899"/>
          </a:xfrm>
        </p:spPr>
        <p:txBody>
          <a:bodyPr/>
          <a:lstStyle>
            <a:lvl1pPr>
              <a:defRPr sz="1400">
                <a:solidFill>
                  <a:schemeClr val="accent1"/>
                </a:solidFill>
              </a:defRPr>
            </a:lvl1pPr>
          </a:lstStyle>
          <a:p>
            <a:pPr lvl="0"/>
            <a:r>
              <a:rPr lang="en-US" dirty="0"/>
              <a:t>Use this slide to create a custom layout.</a:t>
            </a:r>
          </a:p>
        </p:txBody>
      </p:sp>
      <p:pic>
        <p:nvPicPr>
          <p:cNvPr id="9" name="Graphic 8">
            <a:extLst>
              <a:ext uri="{FF2B5EF4-FFF2-40B4-BE49-F238E27FC236}">
                <a16:creationId xmlns:a16="http://schemas.microsoft.com/office/drawing/2014/main" id="{8CD52F77-1E35-5641-823D-83AAD7CDD4A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24046387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ooftops cover">
    <p:bg>
      <p:bgPr>
        <a:solidFill>
          <a:schemeClr val="bg1"/>
        </a:solidFill>
        <a:effectLst/>
      </p:bgPr>
    </p:bg>
    <p:spTree>
      <p:nvGrpSpPr>
        <p:cNvPr id="1" name=""/>
        <p:cNvGrpSpPr/>
        <p:nvPr/>
      </p:nvGrpSpPr>
      <p:grpSpPr>
        <a:xfrm>
          <a:off x="0" y="0"/>
          <a:ext cx="0" cy="0"/>
          <a:chOff x="0" y="0"/>
          <a:chExt cx="0" cy="0"/>
        </a:xfrm>
      </p:grpSpPr>
      <p:sp>
        <p:nvSpPr>
          <p:cNvPr id="11" name="Title 1"/>
          <p:cNvSpPr>
            <a:spLocks noGrp="1"/>
          </p:cNvSpPr>
          <p:nvPr userDrawn="1">
            <p:ph type="title" hasCustomPrompt="1"/>
          </p:nvPr>
        </p:nvSpPr>
        <p:spPr>
          <a:xfrm>
            <a:off x="685801" y="2508308"/>
            <a:ext cx="7086600" cy="738664"/>
          </a:xfrm>
        </p:spPr>
        <p:txBody>
          <a:bodyPr wrap="square">
            <a:spAutoFit/>
          </a:bodyPr>
          <a:lstStyle>
            <a:lvl1pPr>
              <a:defRPr sz="6000" baseline="0">
                <a:solidFill>
                  <a:schemeClr val="tx2"/>
                </a:solidFill>
              </a:defRPr>
            </a:lvl1pPr>
          </a:lstStyle>
          <a:p>
            <a:r>
              <a:rPr lang="en-US" dirty="0"/>
              <a:t>Click to enter title</a:t>
            </a:r>
          </a:p>
        </p:txBody>
      </p:sp>
      <p:pic>
        <p:nvPicPr>
          <p:cNvPr id="10" name="Graphic 9">
            <a:extLst>
              <a:ext uri="{FF2B5EF4-FFF2-40B4-BE49-F238E27FC236}">
                <a16:creationId xmlns:a16="http://schemas.microsoft.com/office/drawing/2014/main" id="{AEB3FB84-B513-3D4B-9B00-4ADDA1CD6C1A}"/>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6659" y="0"/>
            <a:ext cx="9297318" cy="1045949"/>
          </a:xfrm>
          <a:prstGeom prst="rect">
            <a:avLst/>
          </a:prstGeom>
        </p:spPr>
      </p:pic>
      <p:sp>
        <p:nvSpPr>
          <p:cNvPr id="3" name="Text Placeholder 2"/>
          <p:cNvSpPr>
            <a:spLocks noGrp="1"/>
          </p:cNvSpPr>
          <p:nvPr userDrawn="1">
            <p:ph type="body" sz="quarter" idx="10" hasCustomPrompt="1"/>
          </p:nvPr>
        </p:nvSpPr>
        <p:spPr>
          <a:xfrm>
            <a:off x="685799" y="3525473"/>
            <a:ext cx="7086601" cy="332399"/>
          </a:xfrm>
        </p:spPr>
        <p:txBody>
          <a:bodyPr wrap="square">
            <a:spAutoFit/>
          </a:bodyPr>
          <a:lstStyle>
            <a:lvl1pPr>
              <a:defRPr sz="2400" b="1" spc="0" baseline="0">
                <a:solidFill>
                  <a:schemeClr val="accent1"/>
                </a:solidFill>
              </a:defRPr>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a:t>
            </a:r>
            <a:r>
              <a:rPr lang="en-US" dirty="0" err="1"/>
              <a:t>subheader</a:t>
            </a:r>
            <a:endParaRPr lang="en-US" dirty="0"/>
          </a:p>
        </p:txBody>
      </p:sp>
      <p:sp>
        <p:nvSpPr>
          <p:cNvPr id="4" name="TextBox 3"/>
          <p:cNvSpPr txBox="1"/>
          <p:nvPr userDrawn="1"/>
        </p:nvSpPr>
        <p:spPr>
          <a:xfrm>
            <a:off x="-572756" y="864158"/>
            <a:ext cx="184731" cy="369332"/>
          </a:xfrm>
          <a:prstGeom prst="rect">
            <a:avLst/>
          </a:prstGeom>
          <a:noFill/>
        </p:spPr>
        <p:txBody>
          <a:bodyPr wrap="none" rtlCol="0">
            <a:spAutoFit/>
          </a:bodyPr>
          <a:lstStyle/>
          <a:p>
            <a:endParaRPr lang="en-US" dirty="0"/>
          </a:p>
        </p:txBody>
      </p:sp>
      <p:sp>
        <p:nvSpPr>
          <p:cNvPr id="8" name="Text Placeholder 2"/>
          <p:cNvSpPr>
            <a:spLocks noGrp="1"/>
          </p:cNvSpPr>
          <p:nvPr userDrawn="1">
            <p:ph type="body" sz="quarter" idx="11" hasCustomPrompt="1"/>
          </p:nvPr>
        </p:nvSpPr>
        <p:spPr>
          <a:xfrm>
            <a:off x="685799" y="4442922"/>
            <a:ext cx="7086601" cy="193899"/>
          </a:xfrm>
        </p:spPr>
        <p:txBody>
          <a:bodyPr wrap="square">
            <a:spAutoFit/>
          </a:bodyPr>
          <a:lstStyle>
            <a:lvl1pPr>
              <a:defRPr sz="1400" b="0" spc="0" baseline="0">
                <a:solidFill>
                  <a:schemeClr val="tx1"/>
                </a:solidFill>
              </a:defRPr>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Insert byline</a:t>
            </a:r>
          </a:p>
        </p:txBody>
      </p:sp>
      <p:sp>
        <p:nvSpPr>
          <p:cNvPr id="36" name="object 5">
            <a:extLst>
              <a:ext uri="{FF2B5EF4-FFF2-40B4-BE49-F238E27FC236}">
                <a16:creationId xmlns:a16="http://schemas.microsoft.com/office/drawing/2014/main" id="{CB7E6946-FF98-D74A-A2E9-885F5ED31DAD}"/>
              </a:ext>
            </a:extLst>
          </p:cNvPr>
          <p:cNvSpPr/>
          <p:nvPr userDrawn="1"/>
        </p:nvSpPr>
        <p:spPr>
          <a:xfrm>
            <a:off x="685801" y="2148840"/>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dirty="0"/>
          </a:p>
        </p:txBody>
      </p:sp>
      <p:pic>
        <p:nvPicPr>
          <p:cNvPr id="12" name="Graphic 11">
            <a:extLst>
              <a:ext uri="{FF2B5EF4-FFF2-40B4-BE49-F238E27FC236}">
                <a16:creationId xmlns:a16="http://schemas.microsoft.com/office/drawing/2014/main" id="{08AA2E92-FF84-A14C-8115-AEDBAEDE5660}"/>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83673" y="6273877"/>
            <a:ext cx="1480161" cy="438912"/>
          </a:xfrm>
          <a:prstGeom prst="rect">
            <a:avLst/>
          </a:prstGeom>
        </p:spPr>
      </p:pic>
      <p:sp>
        <p:nvSpPr>
          <p:cNvPr id="20" name="Footer Placeholder 2">
            <a:extLst>
              <a:ext uri="{FF2B5EF4-FFF2-40B4-BE49-F238E27FC236}">
                <a16:creationId xmlns:a16="http://schemas.microsoft.com/office/drawing/2014/main" id="{CA28543B-0637-CA43-AC68-666A8F43EF9F}"/>
              </a:ext>
            </a:extLst>
          </p:cNvPr>
          <p:cNvSpPr>
            <a:spLocks noGrp="1"/>
          </p:cNvSpPr>
          <p:nvPr>
            <p:ph type="ftr" sz="quarter" idx="12"/>
          </p:nvPr>
        </p:nvSpPr>
        <p:spPr>
          <a:xfrm>
            <a:off x="4572000" y="6518587"/>
            <a:ext cx="3886200" cy="123111"/>
          </a:xfrm>
        </p:spPr>
        <p:txBody>
          <a:bodyPr/>
          <a:lstStyle>
            <a:lvl1pPr marL="0" marR="0" indent="0" algn="r" defTabSz="914400" rtl="0" eaLnBrk="1" fontAlgn="auto" latinLnBrk="0" hangingPunct="1">
              <a:lnSpc>
                <a:spcPct val="100000"/>
              </a:lnSpc>
              <a:spcBef>
                <a:spcPts val="0"/>
              </a:spcBef>
              <a:spcAft>
                <a:spcPts val="0"/>
              </a:spcAft>
              <a:buClrTx/>
              <a:buSzTx/>
              <a:buFontTx/>
              <a:buNone/>
              <a:tabLst/>
              <a:defRPr sz="800">
                <a:solidFill>
                  <a:schemeClr val="tx2"/>
                </a:solidFill>
              </a:defRPr>
            </a:lvl1pPr>
          </a:lstStyle>
          <a:p>
            <a:r>
              <a:rPr lang="en-US" dirty="0"/>
              <a:t>Confidential Commercial Information — Confidential Treatment and FOIA Exemption Requested</a:t>
            </a:r>
          </a:p>
        </p:txBody>
      </p:sp>
      <p:sp>
        <p:nvSpPr>
          <p:cNvPr id="21" name="TextBox 20">
            <a:extLst>
              <a:ext uri="{FF2B5EF4-FFF2-40B4-BE49-F238E27FC236}">
                <a16:creationId xmlns:a16="http://schemas.microsoft.com/office/drawing/2014/main" id="{86C9B071-8E2E-CA44-8359-8DE77E1ECCA4}"/>
              </a:ext>
            </a:extLst>
          </p:cNvPr>
          <p:cNvSpPr txBox="1"/>
          <p:nvPr userDrawn="1"/>
        </p:nvSpPr>
        <p:spPr>
          <a:xfrm>
            <a:off x="7643875" y="6339244"/>
            <a:ext cx="814325" cy="123111"/>
          </a:xfrm>
          <a:prstGeom prst="rect">
            <a:avLst/>
          </a:prstGeom>
        </p:spPr>
        <p:txBody>
          <a:bodyPr vert="horz" lIns="0" tIns="0" rIns="0" bIns="0" rtlCol="0" anchor="ctr"/>
          <a:lstStyle>
            <a:defPPr>
              <a:defRPr lang="en-US"/>
            </a:defPPr>
            <a:lvl1pPr>
              <a:defRPr lang="en-US" sz="800">
                <a:solidFill>
                  <a:schemeClr val="bg1"/>
                </a:solidFill>
              </a:defRPr>
            </a:lvl1pPr>
          </a:lstStyle>
          <a:p>
            <a:pPr lvl="0" algn="r"/>
            <a:r>
              <a:rPr lang="en-US" dirty="0">
                <a:solidFill>
                  <a:schemeClr val="tx2"/>
                </a:solidFill>
              </a:rPr>
              <a:t>© 2021 Fannie Mae</a:t>
            </a:r>
          </a:p>
        </p:txBody>
      </p:sp>
    </p:spTree>
    <p:extLst>
      <p:ext uri="{BB962C8B-B14F-4D97-AF65-F5344CB8AC3E}">
        <p14:creationId xmlns:p14="http://schemas.microsoft.com/office/powerpoint/2010/main" val="4031638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 slide instructions">
    <p:bg>
      <p:bgPr>
        <a:solidFill>
          <a:schemeClr val="bg1">
            <a:alpha val="20000"/>
          </a:schemeClr>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49" name="Rectangle 48">
            <a:extLst>
              <a:ext uri="{FF2B5EF4-FFF2-40B4-BE49-F238E27FC236}">
                <a16:creationId xmlns:a16="http://schemas.microsoft.com/office/drawing/2014/main" id="{E495F291-3052-1D46-8E0A-F05BDC2D148B}"/>
              </a:ext>
            </a:extLst>
          </p:cNvPr>
          <p:cNvSpPr/>
          <p:nvPr userDrawn="1"/>
        </p:nvSpPr>
        <p:spPr>
          <a:xfrm>
            <a:off x="0" y="1"/>
            <a:ext cx="9144000" cy="1358690"/>
          </a:xfrm>
          <a:prstGeom prst="rect">
            <a:avLst/>
          </a:prstGeom>
          <a:solidFill>
            <a:srgbClr val="A22B2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ource Sans Pro"/>
              <a:ea typeface="+mn-ea"/>
              <a:cs typeface="+mn-cs"/>
            </a:endParaRPr>
          </a:p>
        </p:txBody>
      </p:sp>
      <p:sp>
        <p:nvSpPr>
          <p:cNvPr id="50" name="TextBox 49">
            <a:extLst>
              <a:ext uri="{FF2B5EF4-FFF2-40B4-BE49-F238E27FC236}">
                <a16:creationId xmlns:a16="http://schemas.microsoft.com/office/drawing/2014/main" id="{FA56EE31-05B9-0943-A0C9-69A7D748E975}"/>
              </a:ext>
            </a:extLst>
          </p:cNvPr>
          <p:cNvSpPr txBox="1"/>
          <p:nvPr userDrawn="1"/>
        </p:nvSpPr>
        <p:spPr>
          <a:xfrm>
            <a:off x="292245" y="1557023"/>
            <a:ext cx="3431616" cy="4529445"/>
          </a:xfrm>
          <a:prstGeom prst="rect">
            <a:avLst/>
          </a:prstGeom>
          <a:noFill/>
        </p:spPr>
        <p:txBody>
          <a:bodyPr wrap="square" lIns="0" tIns="0" rIns="0" bIns="0" rtlCol="0">
            <a:spAutoFit/>
          </a:bodyPr>
          <a:lstStyle/>
          <a:p>
            <a:pPr>
              <a:spcAft>
                <a:spcPts val="1000"/>
              </a:spcAft>
              <a:defRPr/>
            </a:pPr>
            <a:r>
              <a:rPr lang="en-US" sz="1100" b="1" i="1" dirty="0">
                <a:solidFill>
                  <a:srgbClr val="AD1A00"/>
                </a:solidFill>
                <a:latin typeface="Source Sans Pro SemiBold" panose="020B0503030403020204" pitchFamily="34" charset="0"/>
                <a:ea typeface="Source Sans Pro SemiBold" panose="020B0503030403020204" pitchFamily="34" charset="0"/>
              </a:rPr>
              <a:t>Note: If your PowerPoint falls under “No Confidentiality,” you do not need to complete the steps below.</a:t>
            </a:r>
            <a:endParaRPr lang="en-US" sz="1100" dirty="0">
              <a:solidFill>
                <a:srgbClr val="AD1A00"/>
              </a:solidFill>
              <a:latin typeface="Source Sans Pro Semibold" panose="020B0503030403020204" pitchFamily="34" charset="0"/>
              <a:ea typeface="Source Sans Pro Semibold" panose="020B0503030403020204" pitchFamily="34" charset="0"/>
            </a:endParaRPr>
          </a:p>
          <a:p>
            <a:pPr>
              <a:spcAft>
                <a:spcPts val="1000"/>
              </a:spcAft>
            </a:pPr>
            <a:r>
              <a:rPr lang="en-US" sz="1100" dirty="0">
                <a:solidFill>
                  <a:srgbClr val="000F2A"/>
                </a:solidFill>
                <a:latin typeface="Source Sans Pro Semibold" panose="020B0503030403020204" pitchFamily="34" charset="0"/>
                <a:ea typeface="Source Sans Pro Semibold" panose="020B0503030403020204" pitchFamily="34" charset="0"/>
              </a:rPr>
              <a:t>How to change the document confidentiality footer:</a:t>
            </a:r>
            <a:endParaRPr lang="en-US" sz="1100" dirty="0">
              <a:solidFill>
                <a:srgbClr val="000F2A"/>
              </a:solidFill>
              <a:ea typeface="Source Sans Pro" panose="020B0503030403020204" pitchFamily="34" charset="0"/>
            </a:endParaRPr>
          </a:p>
          <a:p>
            <a:pPr marL="228600" indent="-228600">
              <a:spcAft>
                <a:spcPts val="1000"/>
              </a:spcAft>
              <a:buFont typeface="+mj-lt"/>
              <a:buAutoNum type="arabicPeriod"/>
            </a:pPr>
            <a:r>
              <a:rPr lang="en-US" sz="1100" dirty="0">
                <a:solidFill>
                  <a:srgbClr val="000F2A"/>
                </a:solidFill>
                <a:ea typeface="Source Sans Pro" panose="020B0503030403020204" pitchFamily="34" charset="0"/>
              </a:rPr>
              <a:t>Read the table to the right to determine your confidentiality label.</a:t>
            </a:r>
          </a:p>
          <a:p>
            <a:pPr marL="228600" indent="-228600">
              <a:spcAft>
                <a:spcPts val="1000"/>
              </a:spcAft>
              <a:buFont typeface="+mj-lt"/>
              <a:buAutoNum type="arabicPeriod"/>
              <a:defRPr/>
            </a:pPr>
            <a:r>
              <a:rPr lang="en-US" sz="1100" dirty="0">
                <a:solidFill>
                  <a:srgbClr val="000F2A"/>
                </a:solidFill>
                <a:ea typeface="Source Sans Pro" panose="020B0503030403020204" pitchFamily="34" charset="0"/>
              </a:rPr>
              <a:t>Select a cover slide from the slide options.</a:t>
            </a:r>
          </a:p>
          <a:p>
            <a:pPr marL="228600" indent="-228600">
              <a:spcAft>
                <a:spcPts val="4200"/>
              </a:spcAft>
              <a:buFont typeface="+mj-lt"/>
              <a:buAutoNum type="arabicPeriod"/>
              <a:defRPr/>
            </a:pPr>
            <a:r>
              <a:rPr lang="en-US" sz="1100" dirty="0">
                <a:solidFill>
                  <a:srgbClr val="000F2A"/>
                </a:solidFill>
                <a:ea typeface="Source Sans Pro" panose="020B0503030403020204" pitchFamily="34" charset="0"/>
              </a:rPr>
              <a:t>Click </a:t>
            </a:r>
            <a:r>
              <a:rPr lang="en-US" sz="1100" b="1" dirty="0">
                <a:solidFill>
                  <a:srgbClr val="000F2A"/>
                </a:solidFill>
                <a:ea typeface="Source Sans Pro" panose="020B0503030403020204" pitchFamily="34" charset="0"/>
              </a:rPr>
              <a:t>Insert</a:t>
            </a:r>
            <a:r>
              <a:rPr lang="en-US" sz="1100" dirty="0">
                <a:solidFill>
                  <a:srgbClr val="000F2A"/>
                </a:solidFill>
                <a:ea typeface="Source Sans Pro" panose="020B0503030403020204" pitchFamily="34" charset="0"/>
              </a:rPr>
              <a:t> in the PowerPoint toolbar and select </a:t>
            </a:r>
            <a:br>
              <a:rPr lang="en-US" sz="1100" dirty="0">
                <a:solidFill>
                  <a:srgbClr val="000F2A"/>
                </a:solidFill>
                <a:ea typeface="Source Sans Pro" panose="020B0503030403020204" pitchFamily="34" charset="0"/>
              </a:rPr>
            </a:br>
            <a:r>
              <a:rPr lang="en-US" sz="1100" b="1" dirty="0">
                <a:solidFill>
                  <a:srgbClr val="000F2A"/>
                </a:solidFill>
                <a:ea typeface="Source Sans Pro" panose="020B0503030403020204" pitchFamily="34" charset="0"/>
              </a:rPr>
              <a:t>Header &amp; Footer</a:t>
            </a:r>
            <a:r>
              <a:rPr lang="en-US" sz="1100" dirty="0">
                <a:solidFill>
                  <a:srgbClr val="000F2A"/>
                </a:solidFill>
                <a:ea typeface="Source Sans Pro" panose="020B0503030403020204" pitchFamily="34" charset="0"/>
              </a:rPr>
              <a:t>.</a:t>
            </a:r>
          </a:p>
          <a:p>
            <a:pPr marL="228600" indent="-228600">
              <a:spcBef>
                <a:spcPts val="600"/>
              </a:spcBef>
              <a:spcAft>
                <a:spcPts val="3800"/>
              </a:spcAft>
              <a:buFont typeface="+mj-lt"/>
              <a:buAutoNum type="arabicPeriod"/>
              <a:defRPr/>
            </a:pPr>
            <a:r>
              <a:rPr lang="en-US" sz="1100" dirty="0">
                <a:solidFill>
                  <a:srgbClr val="000F2A"/>
                </a:solidFill>
                <a:ea typeface="Source Sans Pro" panose="020B0503030403020204" pitchFamily="34" charset="0"/>
              </a:rPr>
              <a:t>In the bottom section of the </a:t>
            </a:r>
            <a:r>
              <a:rPr lang="en-US" sz="1100" b="1" dirty="0">
                <a:solidFill>
                  <a:srgbClr val="000F2A"/>
                </a:solidFill>
                <a:ea typeface="Source Sans Pro" panose="020B0503030403020204" pitchFamily="34" charset="0"/>
              </a:rPr>
              <a:t>Header &amp; Footer </a:t>
            </a:r>
            <a:r>
              <a:rPr lang="en-US" sz="1100" dirty="0">
                <a:solidFill>
                  <a:srgbClr val="000F2A"/>
                </a:solidFill>
                <a:ea typeface="Source Sans Pro" panose="020B0503030403020204" pitchFamily="34" charset="0"/>
              </a:rPr>
              <a:t>panel, ensure the check mark next to </a:t>
            </a:r>
            <a:r>
              <a:rPr lang="en-US" sz="1100" b="1" dirty="0">
                <a:solidFill>
                  <a:srgbClr val="000F2A"/>
                </a:solidFill>
                <a:ea typeface="Source Sans Pro" panose="020B0503030403020204" pitchFamily="34" charset="0"/>
              </a:rPr>
              <a:t>Footer </a:t>
            </a:r>
            <a:r>
              <a:rPr lang="en-US" sz="1100" dirty="0">
                <a:solidFill>
                  <a:srgbClr val="000F2A"/>
                </a:solidFill>
                <a:ea typeface="Source Sans Pro" panose="020B0503030403020204" pitchFamily="34" charset="0"/>
              </a:rPr>
              <a:t>is checked.</a:t>
            </a:r>
            <a:r>
              <a:rPr lang="en-US" sz="1100" b="1" dirty="0">
                <a:solidFill>
                  <a:srgbClr val="000F2A"/>
                </a:solidFill>
                <a:ea typeface="Source Sans Pro" panose="020B0503030403020204" pitchFamily="34" charset="0"/>
              </a:rPr>
              <a:t> </a:t>
            </a:r>
            <a:r>
              <a:rPr lang="en-US" sz="1100" dirty="0">
                <a:solidFill>
                  <a:srgbClr val="000F2A"/>
                </a:solidFill>
                <a:ea typeface="Source Sans Pro" panose="020B0503030403020204" pitchFamily="34" charset="0"/>
              </a:rPr>
              <a:t>Copy the appropriate confidentiality label using the table to the right and paste it into the footer space. After you paste your label, press backspace to clear any extra space following the text. </a:t>
            </a:r>
          </a:p>
          <a:p>
            <a:pPr marL="228600" indent="-228600">
              <a:spcBef>
                <a:spcPts val="600"/>
              </a:spcBef>
              <a:spcAft>
                <a:spcPts val="1000"/>
              </a:spcAft>
              <a:buFont typeface="+mj-lt"/>
              <a:buAutoNum type="arabicPeriod"/>
              <a:defRPr/>
            </a:pPr>
            <a:r>
              <a:rPr lang="en-US" sz="1100" dirty="0">
                <a:solidFill>
                  <a:srgbClr val="000F2A"/>
                </a:solidFill>
                <a:ea typeface="Source Sans Pro" panose="020B0503030403020204" pitchFamily="34" charset="0"/>
              </a:rPr>
              <a:t>Click </a:t>
            </a:r>
            <a:r>
              <a:rPr lang="en-US" sz="1100" b="1" dirty="0">
                <a:solidFill>
                  <a:srgbClr val="000F2A"/>
                </a:solidFill>
                <a:ea typeface="Source Sans Pro" panose="020B0503030403020204" pitchFamily="34" charset="0"/>
              </a:rPr>
              <a:t>Apply to All Slides</a:t>
            </a:r>
            <a:r>
              <a:rPr lang="en-US" sz="1100" dirty="0">
                <a:solidFill>
                  <a:srgbClr val="000F2A"/>
                </a:solidFill>
                <a:ea typeface="Source Sans Pro" panose="020B0503030403020204" pitchFamily="34" charset="0"/>
              </a:rPr>
              <a:t>. </a:t>
            </a:r>
          </a:p>
          <a:p>
            <a:pPr marL="228600" indent="-228600">
              <a:buFont typeface="+mj-lt"/>
              <a:buAutoNum type="arabicPeriod"/>
            </a:pPr>
            <a:r>
              <a:rPr lang="en-US" sz="1100" dirty="0">
                <a:solidFill>
                  <a:srgbClr val="000F2A"/>
                </a:solidFill>
                <a:ea typeface="Source Sans Pro" panose="020B0503030403020204" pitchFamily="34" charset="0"/>
              </a:rPr>
              <a:t>Delete this slide once your footer change is complete.</a:t>
            </a:r>
          </a:p>
        </p:txBody>
      </p:sp>
      <p:grpSp>
        <p:nvGrpSpPr>
          <p:cNvPr id="51" name="Group 50">
            <a:extLst>
              <a:ext uri="{FF2B5EF4-FFF2-40B4-BE49-F238E27FC236}">
                <a16:creationId xmlns:a16="http://schemas.microsoft.com/office/drawing/2014/main" id="{9F827EF6-C5AD-5844-BB11-005F748BF77B}"/>
              </a:ext>
            </a:extLst>
          </p:cNvPr>
          <p:cNvGrpSpPr/>
          <p:nvPr userDrawn="1"/>
        </p:nvGrpSpPr>
        <p:grpSpPr>
          <a:xfrm>
            <a:off x="1677757" y="3299288"/>
            <a:ext cx="1878031" cy="567927"/>
            <a:chOff x="885717" y="2818728"/>
            <a:chExt cx="1878031" cy="567927"/>
          </a:xfrm>
        </p:grpSpPr>
        <p:pic>
          <p:nvPicPr>
            <p:cNvPr id="52" name="Picture 51">
              <a:extLst>
                <a:ext uri="{FF2B5EF4-FFF2-40B4-BE49-F238E27FC236}">
                  <a16:creationId xmlns:a16="http://schemas.microsoft.com/office/drawing/2014/main" id="{6169C5C1-F5B8-9F41-810E-A26208810888}"/>
                </a:ext>
              </a:extLst>
            </p:cNvPr>
            <p:cNvPicPr>
              <a:picLocks noChangeAspect="1"/>
            </p:cNvPicPr>
            <p:nvPr/>
          </p:nvPicPr>
          <p:blipFill>
            <a:blip r:embed="rId2"/>
            <a:stretch>
              <a:fillRect/>
            </a:stretch>
          </p:blipFill>
          <p:spPr>
            <a:xfrm>
              <a:off x="885717" y="2818728"/>
              <a:ext cx="1878031" cy="567927"/>
            </a:xfrm>
            <a:prstGeom prst="rect">
              <a:avLst/>
            </a:prstGeom>
          </p:spPr>
        </p:pic>
        <p:sp>
          <p:nvSpPr>
            <p:cNvPr id="53" name="Rectangle 52">
              <a:extLst>
                <a:ext uri="{FF2B5EF4-FFF2-40B4-BE49-F238E27FC236}">
                  <a16:creationId xmlns:a16="http://schemas.microsoft.com/office/drawing/2014/main" id="{6287EDBF-01D3-984A-BD0A-9CC625AF09EC}"/>
                </a:ext>
              </a:extLst>
            </p:cNvPr>
            <p:cNvSpPr/>
            <p:nvPr/>
          </p:nvSpPr>
          <p:spPr>
            <a:xfrm>
              <a:off x="1171254" y="2818729"/>
              <a:ext cx="377361" cy="490012"/>
            </a:xfrm>
            <a:prstGeom prst="rect">
              <a:avLst/>
            </a:prstGeom>
            <a:noFill/>
            <a:ln w="12700" cap="flat" cmpd="sng" algn="ctr">
              <a:solidFill>
                <a:srgbClr val="D84639"/>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ource Sans Pro"/>
                <a:ea typeface="+mn-ea"/>
                <a:cs typeface="+mn-cs"/>
              </a:endParaRPr>
            </a:p>
          </p:txBody>
        </p:sp>
      </p:grpSp>
      <p:pic>
        <p:nvPicPr>
          <p:cNvPr id="54" name="Picture 53">
            <a:extLst>
              <a:ext uri="{FF2B5EF4-FFF2-40B4-BE49-F238E27FC236}">
                <a16:creationId xmlns:a16="http://schemas.microsoft.com/office/drawing/2014/main" id="{F043F382-A458-AB40-828D-BD748CBA7EFB}"/>
              </a:ext>
            </a:extLst>
          </p:cNvPr>
          <p:cNvPicPr>
            <a:picLocks noChangeAspect="1"/>
          </p:cNvPicPr>
          <p:nvPr userDrawn="1"/>
        </p:nvPicPr>
        <p:blipFill rotWithShape="1">
          <a:blip r:embed="rId3"/>
          <a:srcRect l="3758" t="11148" r="3582" b="6282"/>
          <a:stretch/>
        </p:blipFill>
        <p:spPr>
          <a:xfrm>
            <a:off x="513504" y="5113722"/>
            <a:ext cx="1930046" cy="314841"/>
          </a:xfrm>
          <a:prstGeom prst="rect">
            <a:avLst/>
          </a:prstGeom>
        </p:spPr>
      </p:pic>
      <p:sp>
        <p:nvSpPr>
          <p:cNvPr id="55" name="Rectangle 54">
            <a:extLst>
              <a:ext uri="{FF2B5EF4-FFF2-40B4-BE49-F238E27FC236}">
                <a16:creationId xmlns:a16="http://schemas.microsoft.com/office/drawing/2014/main" id="{0FDB98B3-E4C9-E049-84EE-FBE2CCC6C2AC}"/>
              </a:ext>
            </a:extLst>
          </p:cNvPr>
          <p:cNvSpPr/>
          <p:nvPr userDrawn="1"/>
        </p:nvSpPr>
        <p:spPr>
          <a:xfrm>
            <a:off x="1422835" y="617594"/>
            <a:ext cx="7339199" cy="523220"/>
          </a:xfrm>
          <a:prstGeom prst="rect">
            <a:avLst/>
          </a:prstGeom>
        </p:spPr>
        <p:txBody>
          <a:bodyPr wrap="square" lIns="0">
            <a:spAutoFit/>
          </a:bodyPr>
          <a:lstStyle/>
          <a:p>
            <a:r>
              <a:rPr lang="en-US" sz="1400" dirty="0">
                <a:solidFill>
                  <a:srgbClr val="FFFFFF"/>
                </a:solidFill>
                <a:ea typeface="Source Sans Pro" panose="020B0503030403020204" pitchFamily="34" charset="0"/>
              </a:rPr>
              <a:t>You must label your PowerPoint presentation with an appropriate footer based on the document content. Use the table and instructions below to choose and adjust your confidentiality footer.</a:t>
            </a:r>
          </a:p>
        </p:txBody>
      </p:sp>
      <p:sp>
        <p:nvSpPr>
          <p:cNvPr id="56" name="Rectangle 55">
            <a:extLst>
              <a:ext uri="{FF2B5EF4-FFF2-40B4-BE49-F238E27FC236}">
                <a16:creationId xmlns:a16="http://schemas.microsoft.com/office/drawing/2014/main" id="{A8EA7849-26AB-0943-8E0B-177A2A2E6DA7}"/>
              </a:ext>
            </a:extLst>
          </p:cNvPr>
          <p:cNvSpPr/>
          <p:nvPr userDrawn="1"/>
        </p:nvSpPr>
        <p:spPr>
          <a:xfrm>
            <a:off x="1393082" y="263847"/>
            <a:ext cx="10112419" cy="353943"/>
          </a:xfrm>
          <a:prstGeom prst="rect">
            <a:avLst/>
          </a:prstGeom>
        </p:spPr>
        <p:txBody>
          <a:bodyPr wrap="square" lIns="0" t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FFFFFF"/>
                </a:solidFill>
                <a:effectLst/>
                <a:uLnTx/>
                <a:uFillTx/>
              </a:rPr>
              <a:t>You must update the document confidentiality footer</a:t>
            </a:r>
            <a:endParaRPr kumimoji="0" lang="en-US" sz="2000" b="0" i="0" u="none" strike="noStrike" kern="0" cap="none" spc="0" normalizeH="0" baseline="0" noProof="0" dirty="0">
              <a:ln>
                <a:noFill/>
              </a:ln>
              <a:solidFill>
                <a:srgbClr val="FFFFFF"/>
              </a:solidFill>
              <a:effectLst/>
              <a:uLnTx/>
              <a:uFillTx/>
            </a:endParaRPr>
          </a:p>
        </p:txBody>
      </p:sp>
      <p:pic>
        <p:nvPicPr>
          <p:cNvPr id="57" name="Picture 56" descr="File:Mandatory road sign stop.svg">
            <a:extLst>
              <a:ext uri="{FF2B5EF4-FFF2-40B4-BE49-F238E27FC236}">
                <a16:creationId xmlns:a16="http://schemas.microsoft.com/office/drawing/2014/main" id="{0D51B00C-FAB3-584C-84D7-C31F82ABAFCF}"/>
              </a:ext>
            </a:extLst>
          </p:cNvPr>
          <p:cNvPicPr>
            <a:picLocks noChangeAspect="1"/>
          </p:cNvPicPr>
          <p:nvPr userDrawn="1"/>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292245" y="222990"/>
            <a:ext cx="912711" cy="912711"/>
          </a:xfrm>
          <a:prstGeom prst="rect">
            <a:avLst/>
          </a:prstGeom>
        </p:spPr>
      </p:pic>
      <p:graphicFrame>
        <p:nvGraphicFramePr>
          <p:cNvPr id="58" name="Table 57">
            <a:extLst>
              <a:ext uri="{FF2B5EF4-FFF2-40B4-BE49-F238E27FC236}">
                <a16:creationId xmlns:a16="http://schemas.microsoft.com/office/drawing/2014/main" id="{B1E0949F-CE5B-F843-A4C6-DD0ADCF41A2D}"/>
              </a:ext>
            </a:extLst>
          </p:cNvPr>
          <p:cNvGraphicFramePr>
            <a:graphicFrameLocks noGrp="1"/>
          </p:cNvGraphicFramePr>
          <p:nvPr userDrawn="1">
            <p:extLst>
              <p:ext uri="{D42A27DB-BD31-4B8C-83A1-F6EECF244321}">
                <p14:modId xmlns:p14="http://schemas.microsoft.com/office/powerpoint/2010/main" val="3963195221"/>
              </p:ext>
            </p:extLst>
          </p:nvPr>
        </p:nvGraphicFramePr>
        <p:xfrm>
          <a:off x="3945120" y="1358690"/>
          <a:ext cx="5198880" cy="5499309"/>
        </p:xfrm>
        <a:graphic>
          <a:graphicData uri="http://schemas.openxmlformats.org/drawingml/2006/table">
            <a:tbl>
              <a:tblPr firstRow="1" bandRow="1"/>
              <a:tblGrid>
                <a:gridCol w="1356085">
                  <a:extLst>
                    <a:ext uri="{9D8B030D-6E8A-4147-A177-3AD203B41FA5}">
                      <a16:colId xmlns:a16="http://schemas.microsoft.com/office/drawing/2014/main" val="1834352962"/>
                    </a:ext>
                  </a:extLst>
                </a:gridCol>
                <a:gridCol w="3842795">
                  <a:extLst>
                    <a:ext uri="{9D8B030D-6E8A-4147-A177-3AD203B41FA5}">
                      <a16:colId xmlns:a16="http://schemas.microsoft.com/office/drawing/2014/main" val="1211225072"/>
                    </a:ext>
                  </a:extLst>
                </a:gridCol>
              </a:tblGrid>
              <a:tr h="2216541">
                <a:tc>
                  <a:txBody>
                    <a:bodyPr/>
                    <a:lstStyle>
                      <a:lvl1pPr marL="0" algn="l" defTabSz="514350" rtl="0" eaLnBrk="1" latinLnBrk="0" hangingPunct="1">
                        <a:defRPr sz="1013" b="1" kern="1200">
                          <a:solidFill>
                            <a:schemeClr val="lt1"/>
                          </a:solidFill>
                          <a:latin typeface="Source Sans Pro"/>
                        </a:defRPr>
                      </a:lvl1pPr>
                      <a:lvl2pPr marL="257175" algn="l" defTabSz="514350" rtl="0" eaLnBrk="1" latinLnBrk="0" hangingPunct="1">
                        <a:defRPr sz="1013" b="1" kern="1200">
                          <a:solidFill>
                            <a:schemeClr val="lt1"/>
                          </a:solidFill>
                          <a:latin typeface="Source Sans Pro"/>
                        </a:defRPr>
                      </a:lvl2pPr>
                      <a:lvl3pPr marL="514350" algn="l" defTabSz="514350" rtl="0" eaLnBrk="1" latinLnBrk="0" hangingPunct="1">
                        <a:defRPr sz="1013" b="1" kern="1200">
                          <a:solidFill>
                            <a:schemeClr val="lt1"/>
                          </a:solidFill>
                          <a:latin typeface="Source Sans Pro"/>
                        </a:defRPr>
                      </a:lvl3pPr>
                      <a:lvl4pPr marL="771525" algn="l" defTabSz="514350" rtl="0" eaLnBrk="1" latinLnBrk="0" hangingPunct="1">
                        <a:defRPr sz="1013" b="1" kern="1200">
                          <a:solidFill>
                            <a:schemeClr val="lt1"/>
                          </a:solidFill>
                          <a:latin typeface="Source Sans Pro"/>
                        </a:defRPr>
                      </a:lvl4pPr>
                      <a:lvl5pPr marL="1028700" algn="l" defTabSz="514350" rtl="0" eaLnBrk="1" latinLnBrk="0" hangingPunct="1">
                        <a:defRPr sz="1013" b="1" kern="1200">
                          <a:solidFill>
                            <a:schemeClr val="lt1"/>
                          </a:solidFill>
                          <a:latin typeface="Source Sans Pro"/>
                        </a:defRPr>
                      </a:lvl5pPr>
                      <a:lvl6pPr marL="1285875" algn="l" defTabSz="514350" rtl="0" eaLnBrk="1" latinLnBrk="0" hangingPunct="1">
                        <a:defRPr sz="1013" b="1" kern="1200">
                          <a:solidFill>
                            <a:schemeClr val="lt1"/>
                          </a:solidFill>
                          <a:latin typeface="Source Sans Pro"/>
                        </a:defRPr>
                      </a:lvl6pPr>
                      <a:lvl7pPr marL="1543050" algn="l" defTabSz="514350" rtl="0" eaLnBrk="1" latinLnBrk="0" hangingPunct="1">
                        <a:defRPr sz="1013" b="1" kern="1200">
                          <a:solidFill>
                            <a:schemeClr val="lt1"/>
                          </a:solidFill>
                          <a:latin typeface="Source Sans Pro"/>
                        </a:defRPr>
                      </a:lvl7pPr>
                      <a:lvl8pPr marL="1800225" algn="l" defTabSz="514350" rtl="0" eaLnBrk="1" latinLnBrk="0" hangingPunct="1">
                        <a:defRPr sz="1013" b="1" kern="1200">
                          <a:solidFill>
                            <a:schemeClr val="lt1"/>
                          </a:solidFill>
                          <a:latin typeface="Source Sans Pro"/>
                        </a:defRPr>
                      </a:lvl8pPr>
                      <a:lvl9pPr marL="2057400" algn="l" defTabSz="514350" rtl="0" eaLnBrk="1" latinLnBrk="0" hangingPunct="1">
                        <a:defRPr sz="1013" b="1" kern="1200">
                          <a:solidFill>
                            <a:schemeClr val="lt1"/>
                          </a:solidFill>
                          <a:latin typeface="Source Sans Pro"/>
                        </a:defRPr>
                      </a:lvl9pPr>
                    </a:lstStyle>
                    <a:p>
                      <a:endParaRPr lang="en-US" sz="1200" dirty="0">
                        <a:solidFill>
                          <a:schemeClr val="tx2"/>
                        </a:solidFill>
                      </a:endParaRPr>
                    </a:p>
                  </a:txBody>
                  <a:tcPr>
                    <a:lnL w="762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000F2A">
                        <a:alpha val="5000"/>
                      </a:srgbClr>
                    </a:solidFill>
                  </a:tcPr>
                </a:tc>
                <a:tc>
                  <a:txBody>
                    <a:bodyPr/>
                    <a:lstStyle>
                      <a:lvl1pPr marL="0" algn="l" defTabSz="514350" rtl="0" eaLnBrk="1" latinLnBrk="0" hangingPunct="1">
                        <a:defRPr sz="1013" b="1" kern="1200">
                          <a:solidFill>
                            <a:schemeClr val="lt1"/>
                          </a:solidFill>
                          <a:latin typeface="Source Sans Pro"/>
                        </a:defRPr>
                      </a:lvl1pPr>
                      <a:lvl2pPr marL="257175" algn="l" defTabSz="514350" rtl="0" eaLnBrk="1" latinLnBrk="0" hangingPunct="1">
                        <a:defRPr sz="1013" b="1" kern="1200">
                          <a:solidFill>
                            <a:schemeClr val="lt1"/>
                          </a:solidFill>
                          <a:latin typeface="Source Sans Pro"/>
                        </a:defRPr>
                      </a:lvl2pPr>
                      <a:lvl3pPr marL="514350" algn="l" defTabSz="514350" rtl="0" eaLnBrk="1" latinLnBrk="0" hangingPunct="1">
                        <a:defRPr sz="1013" b="1" kern="1200">
                          <a:solidFill>
                            <a:schemeClr val="lt1"/>
                          </a:solidFill>
                          <a:latin typeface="Source Sans Pro"/>
                        </a:defRPr>
                      </a:lvl3pPr>
                      <a:lvl4pPr marL="771525" algn="l" defTabSz="514350" rtl="0" eaLnBrk="1" latinLnBrk="0" hangingPunct="1">
                        <a:defRPr sz="1013" b="1" kern="1200">
                          <a:solidFill>
                            <a:schemeClr val="lt1"/>
                          </a:solidFill>
                          <a:latin typeface="Source Sans Pro"/>
                        </a:defRPr>
                      </a:lvl4pPr>
                      <a:lvl5pPr marL="1028700" algn="l" defTabSz="514350" rtl="0" eaLnBrk="1" latinLnBrk="0" hangingPunct="1">
                        <a:defRPr sz="1013" b="1" kern="1200">
                          <a:solidFill>
                            <a:schemeClr val="lt1"/>
                          </a:solidFill>
                          <a:latin typeface="Source Sans Pro"/>
                        </a:defRPr>
                      </a:lvl5pPr>
                      <a:lvl6pPr marL="1285875" algn="l" defTabSz="514350" rtl="0" eaLnBrk="1" latinLnBrk="0" hangingPunct="1">
                        <a:defRPr sz="1013" b="1" kern="1200">
                          <a:solidFill>
                            <a:schemeClr val="lt1"/>
                          </a:solidFill>
                          <a:latin typeface="Source Sans Pro"/>
                        </a:defRPr>
                      </a:lvl6pPr>
                      <a:lvl7pPr marL="1543050" algn="l" defTabSz="514350" rtl="0" eaLnBrk="1" latinLnBrk="0" hangingPunct="1">
                        <a:defRPr sz="1013" b="1" kern="1200">
                          <a:solidFill>
                            <a:schemeClr val="lt1"/>
                          </a:solidFill>
                          <a:latin typeface="Source Sans Pro"/>
                        </a:defRPr>
                      </a:lvl7pPr>
                      <a:lvl8pPr marL="1800225" algn="l" defTabSz="514350" rtl="0" eaLnBrk="1" latinLnBrk="0" hangingPunct="1">
                        <a:defRPr sz="1013" b="1" kern="1200">
                          <a:solidFill>
                            <a:schemeClr val="lt1"/>
                          </a:solidFill>
                          <a:latin typeface="Source Sans Pro"/>
                        </a:defRPr>
                      </a:lvl8pPr>
                      <a:lvl9pPr marL="2057400" algn="l" defTabSz="514350" rtl="0" eaLnBrk="1" latinLnBrk="0" hangingPunct="1">
                        <a:defRPr sz="1013" b="1" kern="1200">
                          <a:solidFill>
                            <a:schemeClr val="lt1"/>
                          </a:solidFill>
                          <a:latin typeface="Source Sans Pro"/>
                        </a:defRPr>
                      </a:lvl9pPr>
                    </a:lstStyle>
                    <a:p>
                      <a:pPr marL="171450" indent="-171450">
                        <a:buFont typeface="Wingdings" panose="05000000000000000000" pitchFamily="2" charset="2"/>
                        <a:buChar char="§"/>
                      </a:pPr>
                      <a:r>
                        <a:rPr lang="en-US" sz="1100" b="0" i="0" baseline="0" dirty="0">
                          <a:solidFill>
                            <a:schemeClr val="tx1"/>
                          </a:solidFill>
                          <a:latin typeface="Source Sans Pro" panose="020B0503030403020204" pitchFamily="34" charset="0"/>
                          <a:ea typeface="Source Sans Pro" panose="020B0503030403020204" pitchFamily="34" charset="0"/>
                        </a:rPr>
                        <a:t>Document does not contain confidential information.</a:t>
                      </a:r>
                    </a:p>
                    <a:p>
                      <a:pPr marL="171450" indent="-171450">
                        <a:buFont typeface="Wingdings" panose="05000000000000000000" pitchFamily="2" charset="2"/>
                        <a:buChar char="§"/>
                      </a:pPr>
                      <a:r>
                        <a:rPr lang="en-US" sz="1100" b="0" i="0" baseline="0" dirty="0">
                          <a:solidFill>
                            <a:schemeClr val="tx1"/>
                          </a:solidFill>
                          <a:latin typeface="Source Sans Pro" panose="020B0503030403020204" pitchFamily="34" charset="0"/>
                          <a:ea typeface="Source Sans Pro" panose="020B0503030403020204" pitchFamily="34" charset="0"/>
                        </a:rPr>
                        <a:t>If your document isn’t confidential, you can delete the preset footer text, and you don’t need to complete any additional steps.</a:t>
                      </a:r>
                    </a:p>
                  </a:txBody>
                  <a:tcPr marL="182880" marR="182880" marT="91440" marB="91440" anchor="ctr">
                    <a:lnL w="38100" cap="flat" cmpd="sng" algn="ctr">
                      <a:noFill/>
                      <a:prstDash val="solid"/>
                      <a:round/>
                      <a:headEnd type="none" w="med" len="med"/>
                      <a:tailEnd type="none" w="med" len="med"/>
                    </a:lnL>
                    <a:lnR w="12700" cmpd="sng">
                      <a:noFill/>
                    </a:lnR>
                    <a:lnT w="3175" cap="flat" cmpd="sng" algn="ctr">
                      <a:solidFill>
                        <a:srgbClr val="D8D6DC"/>
                      </a:solidFill>
                      <a:prstDash val="solid"/>
                      <a:round/>
                      <a:headEnd type="none" w="med" len="med"/>
                      <a:tailEnd type="none" w="med" len="med"/>
                    </a:lnT>
                    <a:lnB w="3175" cap="flat" cmpd="sng" algn="ctr">
                      <a:solidFill>
                        <a:srgbClr val="D8D6DC"/>
                      </a:solidFill>
                      <a:prstDash val="solid"/>
                      <a:round/>
                      <a:headEnd type="none" w="med" len="med"/>
                      <a:tailEnd type="none" w="med" len="med"/>
                    </a:lnB>
                    <a:lnTlToBr w="12700" cmpd="sng">
                      <a:noFill/>
                      <a:prstDash val="solid"/>
                    </a:lnTlToBr>
                    <a:lnBlToTr w="12700" cmpd="sng">
                      <a:noFill/>
                      <a:prstDash val="solid"/>
                    </a:lnBlToTr>
                    <a:solidFill>
                      <a:srgbClr val="000F2A">
                        <a:alpha val="5000"/>
                      </a:srgbClr>
                    </a:solidFill>
                  </a:tcPr>
                </a:tc>
                <a:extLst>
                  <a:ext uri="{0D108BD9-81ED-4DB2-BD59-A6C34878D82A}">
                    <a16:rowId xmlns:a16="http://schemas.microsoft.com/office/drawing/2014/main" val="527206954"/>
                  </a:ext>
                </a:extLst>
              </a:tr>
              <a:tr h="1477692">
                <a:tc>
                  <a:txBody>
                    <a:bodyPr/>
                    <a:lstStyle>
                      <a:lvl1pPr marL="0" algn="l" defTabSz="514350" rtl="0" eaLnBrk="1" latinLnBrk="0" hangingPunct="1">
                        <a:defRPr sz="1013" kern="1200">
                          <a:solidFill>
                            <a:schemeClr val="dk1"/>
                          </a:solidFill>
                          <a:latin typeface="Source Sans Pro"/>
                        </a:defRPr>
                      </a:lvl1pPr>
                      <a:lvl2pPr marL="257175" algn="l" defTabSz="514350" rtl="0" eaLnBrk="1" latinLnBrk="0" hangingPunct="1">
                        <a:defRPr sz="1013" kern="1200">
                          <a:solidFill>
                            <a:schemeClr val="dk1"/>
                          </a:solidFill>
                          <a:latin typeface="Source Sans Pro"/>
                        </a:defRPr>
                      </a:lvl2pPr>
                      <a:lvl3pPr marL="514350" algn="l" defTabSz="514350" rtl="0" eaLnBrk="1" latinLnBrk="0" hangingPunct="1">
                        <a:defRPr sz="1013" kern="1200">
                          <a:solidFill>
                            <a:schemeClr val="dk1"/>
                          </a:solidFill>
                          <a:latin typeface="Source Sans Pro"/>
                        </a:defRPr>
                      </a:lvl3pPr>
                      <a:lvl4pPr marL="771525" algn="l" defTabSz="514350" rtl="0" eaLnBrk="1" latinLnBrk="0" hangingPunct="1">
                        <a:defRPr sz="1013" kern="1200">
                          <a:solidFill>
                            <a:schemeClr val="dk1"/>
                          </a:solidFill>
                          <a:latin typeface="Source Sans Pro"/>
                        </a:defRPr>
                      </a:lvl4pPr>
                      <a:lvl5pPr marL="1028700" algn="l" defTabSz="514350" rtl="0" eaLnBrk="1" latinLnBrk="0" hangingPunct="1">
                        <a:defRPr sz="1013" kern="1200">
                          <a:solidFill>
                            <a:schemeClr val="dk1"/>
                          </a:solidFill>
                          <a:latin typeface="Source Sans Pro"/>
                        </a:defRPr>
                      </a:lvl5pPr>
                      <a:lvl6pPr marL="1285875" algn="l" defTabSz="514350" rtl="0" eaLnBrk="1" latinLnBrk="0" hangingPunct="1">
                        <a:defRPr sz="1013" kern="1200">
                          <a:solidFill>
                            <a:schemeClr val="dk1"/>
                          </a:solidFill>
                          <a:latin typeface="Source Sans Pro"/>
                        </a:defRPr>
                      </a:lvl6pPr>
                      <a:lvl7pPr marL="1543050" algn="l" defTabSz="514350" rtl="0" eaLnBrk="1" latinLnBrk="0" hangingPunct="1">
                        <a:defRPr sz="1013" kern="1200">
                          <a:solidFill>
                            <a:schemeClr val="dk1"/>
                          </a:solidFill>
                          <a:latin typeface="Source Sans Pro"/>
                        </a:defRPr>
                      </a:lvl7pPr>
                      <a:lvl8pPr marL="1800225" algn="l" defTabSz="514350" rtl="0" eaLnBrk="1" latinLnBrk="0" hangingPunct="1">
                        <a:defRPr sz="1013" kern="1200">
                          <a:solidFill>
                            <a:schemeClr val="dk1"/>
                          </a:solidFill>
                          <a:latin typeface="Source Sans Pro"/>
                        </a:defRPr>
                      </a:lvl8pPr>
                      <a:lvl9pPr marL="2057400" algn="l" defTabSz="514350" rtl="0" eaLnBrk="1" latinLnBrk="0" hangingPunct="1">
                        <a:defRPr sz="1013" kern="1200">
                          <a:solidFill>
                            <a:schemeClr val="dk1"/>
                          </a:solidFill>
                          <a:latin typeface="Source Sans Pro"/>
                        </a:defRPr>
                      </a:lvl9pPr>
                    </a:lstStyle>
                    <a:p>
                      <a:endParaRPr lang="en-US" sz="1200" dirty="0">
                        <a:solidFill>
                          <a:schemeClr val="bg1"/>
                        </a:solidFill>
                      </a:endParaRPr>
                    </a:p>
                  </a:txBody>
                  <a:tcPr>
                    <a:lnL w="762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rgbClr val="20AB2A">
                        <a:alpha val="5000"/>
                      </a:srgbClr>
                    </a:solidFill>
                  </a:tcPr>
                </a:tc>
                <a:tc>
                  <a:txBody>
                    <a:bodyPr/>
                    <a:lstStyle>
                      <a:lvl1pPr marL="0" algn="l" defTabSz="514350" rtl="0" eaLnBrk="1" latinLnBrk="0" hangingPunct="1">
                        <a:defRPr sz="1013" kern="1200">
                          <a:solidFill>
                            <a:schemeClr val="dk1"/>
                          </a:solidFill>
                          <a:latin typeface="Source Sans Pro"/>
                        </a:defRPr>
                      </a:lvl1pPr>
                      <a:lvl2pPr marL="257175" algn="l" defTabSz="514350" rtl="0" eaLnBrk="1" latinLnBrk="0" hangingPunct="1">
                        <a:defRPr sz="1013" kern="1200">
                          <a:solidFill>
                            <a:schemeClr val="dk1"/>
                          </a:solidFill>
                          <a:latin typeface="Source Sans Pro"/>
                        </a:defRPr>
                      </a:lvl2pPr>
                      <a:lvl3pPr marL="514350" algn="l" defTabSz="514350" rtl="0" eaLnBrk="1" latinLnBrk="0" hangingPunct="1">
                        <a:defRPr sz="1013" kern="1200">
                          <a:solidFill>
                            <a:schemeClr val="dk1"/>
                          </a:solidFill>
                          <a:latin typeface="Source Sans Pro"/>
                        </a:defRPr>
                      </a:lvl3pPr>
                      <a:lvl4pPr marL="771525" algn="l" defTabSz="514350" rtl="0" eaLnBrk="1" latinLnBrk="0" hangingPunct="1">
                        <a:defRPr sz="1013" kern="1200">
                          <a:solidFill>
                            <a:schemeClr val="dk1"/>
                          </a:solidFill>
                          <a:latin typeface="Source Sans Pro"/>
                        </a:defRPr>
                      </a:lvl4pPr>
                      <a:lvl5pPr marL="1028700" algn="l" defTabSz="514350" rtl="0" eaLnBrk="1" latinLnBrk="0" hangingPunct="1">
                        <a:defRPr sz="1013" kern="1200">
                          <a:solidFill>
                            <a:schemeClr val="dk1"/>
                          </a:solidFill>
                          <a:latin typeface="Source Sans Pro"/>
                        </a:defRPr>
                      </a:lvl5pPr>
                      <a:lvl6pPr marL="1285875" algn="l" defTabSz="514350" rtl="0" eaLnBrk="1" latinLnBrk="0" hangingPunct="1">
                        <a:defRPr sz="1013" kern="1200">
                          <a:solidFill>
                            <a:schemeClr val="dk1"/>
                          </a:solidFill>
                          <a:latin typeface="Source Sans Pro"/>
                        </a:defRPr>
                      </a:lvl6pPr>
                      <a:lvl7pPr marL="1543050" algn="l" defTabSz="514350" rtl="0" eaLnBrk="1" latinLnBrk="0" hangingPunct="1">
                        <a:defRPr sz="1013" kern="1200">
                          <a:solidFill>
                            <a:schemeClr val="dk1"/>
                          </a:solidFill>
                          <a:latin typeface="Source Sans Pro"/>
                        </a:defRPr>
                      </a:lvl7pPr>
                      <a:lvl8pPr marL="1800225" algn="l" defTabSz="514350" rtl="0" eaLnBrk="1" latinLnBrk="0" hangingPunct="1">
                        <a:defRPr sz="1013" kern="1200">
                          <a:solidFill>
                            <a:schemeClr val="dk1"/>
                          </a:solidFill>
                          <a:latin typeface="Source Sans Pro"/>
                        </a:defRPr>
                      </a:lvl8pPr>
                      <a:lvl9pPr marL="2057400" algn="l" defTabSz="514350" rtl="0" eaLnBrk="1" latinLnBrk="0" hangingPunct="1">
                        <a:defRPr sz="1013" kern="1200">
                          <a:solidFill>
                            <a:schemeClr val="dk1"/>
                          </a:solidFill>
                          <a:latin typeface="Source Sans Pro"/>
                        </a:defRPr>
                      </a:lvl9pPr>
                    </a:lstStyle>
                    <a:p>
                      <a:pPr marL="171450" lvl="0" indent="-171450">
                        <a:buFont typeface="Wingdings" panose="05000000000000000000" pitchFamily="2" charset="2"/>
                        <a:buChar char="§"/>
                      </a:pPr>
                      <a:r>
                        <a:rPr lang="en-US" sz="1100" b="0" i="0" baseline="0" dirty="0">
                          <a:solidFill>
                            <a:schemeClr val="tx1"/>
                          </a:solidFill>
                          <a:latin typeface="Source Sans Pro" panose="020B0503030403020204" pitchFamily="34" charset="0"/>
                          <a:ea typeface="Source Sans Pro" panose="020B0503030403020204" pitchFamily="34" charset="0"/>
                        </a:rPr>
                        <a:t>Document contains Fannie Mae confidential information.</a:t>
                      </a:r>
                    </a:p>
                  </a:txBody>
                  <a:tcPr marL="182880" marR="182880" marT="91440" marB="91440" anchor="ctr">
                    <a:lnL w="38100" cap="flat" cmpd="sng" algn="ctr">
                      <a:noFill/>
                      <a:prstDash val="solid"/>
                      <a:round/>
                      <a:headEnd type="none" w="med" len="med"/>
                      <a:tailEnd type="none" w="med" len="med"/>
                    </a:lnL>
                    <a:lnR w="12700" cmpd="sng">
                      <a:noFill/>
                    </a:lnR>
                    <a:lnT w="3175" cap="flat" cmpd="sng" algn="ctr">
                      <a:solidFill>
                        <a:srgbClr val="D8D6DC"/>
                      </a:solidFill>
                      <a:prstDash val="solid"/>
                      <a:round/>
                      <a:headEnd type="none" w="med" len="med"/>
                      <a:tailEnd type="none" w="med" len="med"/>
                    </a:lnT>
                    <a:lnB w="3175" cap="flat" cmpd="sng" algn="ctr">
                      <a:solidFill>
                        <a:srgbClr val="D8D6DC"/>
                      </a:solidFill>
                      <a:prstDash val="solid"/>
                      <a:round/>
                      <a:headEnd type="none" w="med" len="med"/>
                      <a:tailEnd type="none" w="med" len="med"/>
                    </a:lnB>
                    <a:lnTlToBr w="12700" cmpd="sng">
                      <a:noFill/>
                      <a:prstDash val="solid"/>
                    </a:lnTlToBr>
                    <a:lnBlToTr w="12700" cmpd="sng">
                      <a:noFill/>
                      <a:prstDash val="solid"/>
                    </a:lnBlToTr>
                    <a:solidFill>
                      <a:srgbClr val="20AB2A">
                        <a:alpha val="5000"/>
                      </a:srgbClr>
                    </a:solidFill>
                  </a:tcPr>
                </a:tc>
                <a:extLst>
                  <a:ext uri="{0D108BD9-81ED-4DB2-BD59-A6C34878D82A}">
                    <a16:rowId xmlns:a16="http://schemas.microsoft.com/office/drawing/2014/main" val="2617196083"/>
                  </a:ext>
                </a:extLst>
              </a:tr>
              <a:tr h="1805076">
                <a:tc>
                  <a:txBody>
                    <a:bodyPr/>
                    <a:lstStyle>
                      <a:lvl1pPr marL="0" algn="l" defTabSz="514350" rtl="0" eaLnBrk="1" latinLnBrk="0" hangingPunct="1">
                        <a:defRPr sz="1013" kern="1200">
                          <a:solidFill>
                            <a:schemeClr val="dk1"/>
                          </a:solidFill>
                          <a:latin typeface="Source Sans Pro"/>
                        </a:defRPr>
                      </a:lvl1pPr>
                      <a:lvl2pPr marL="257175" algn="l" defTabSz="514350" rtl="0" eaLnBrk="1" latinLnBrk="0" hangingPunct="1">
                        <a:defRPr sz="1013" kern="1200">
                          <a:solidFill>
                            <a:schemeClr val="dk1"/>
                          </a:solidFill>
                          <a:latin typeface="Source Sans Pro"/>
                        </a:defRPr>
                      </a:lvl2pPr>
                      <a:lvl3pPr marL="514350" algn="l" defTabSz="514350" rtl="0" eaLnBrk="1" latinLnBrk="0" hangingPunct="1">
                        <a:defRPr sz="1013" kern="1200">
                          <a:solidFill>
                            <a:schemeClr val="dk1"/>
                          </a:solidFill>
                          <a:latin typeface="Source Sans Pro"/>
                        </a:defRPr>
                      </a:lvl3pPr>
                      <a:lvl4pPr marL="771525" algn="l" defTabSz="514350" rtl="0" eaLnBrk="1" latinLnBrk="0" hangingPunct="1">
                        <a:defRPr sz="1013" kern="1200">
                          <a:solidFill>
                            <a:schemeClr val="dk1"/>
                          </a:solidFill>
                          <a:latin typeface="Source Sans Pro"/>
                        </a:defRPr>
                      </a:lvl4pPr>
                      <a:lvl5pPr marL="1028700" algn="l" defTabSz="514350" rtl="0" eaLnBrk="1" latinLnBrk="0" hangingPunct="1">
                        <a:defRPr sz="1013" kern="1200">
                          <a:solidFill>
                            <a:schemeClr val="dk1"/>
                          </a:solidFill>
                          <a:latin typeface="Source Sans Pro"/>
                        </a:defRPr>
                      </a:lvl5pPr>
                      <a:lvl6pPr marL="1285875" algn="l" defTabSz="514350" rtl="0" eaLnBrk="1" latinLnBrk="0" hangingPunct="1">
                        <a:defRPr sz="1013" kern="1200">
                          <a:solidFill>
                            <a:schemeClr val="dk1"/>
                          </a:solidFill>
                          <a:latin typeface="Source Sans Pro"/>
                        </a:defRPr>
                      </a:lvl6pPr>
                      <a:lvl7pPr marL="1543050" algn="l" defTabSz="514350" rtl="0" eaLnBrk="1" latinLnBrk="0" hangingPunct="1">
                        <a:defRPr sz="1013" kern="1200">
                          <a:solidFill>
                            <a:schemeClr val="dk1"/>
                          </a:solidFill>
                          <a:latin typeface="Source Sans Pro"/>
                        </a:defRPr>
                      </a:lvl7pPr>
                      <a:lvl8pPr marL="1800225" algn="l" defTabSz="514350" rtl="0" eaLnBrk="1" latinLnBrk="0" hangingPunct="1">
                        <a:defRPr sz="1013" kern="1200">
                          <a:solidFill>
                            <a:schemeClr val="dk1"/>
                          </a:solidFill>
                          <a:latin typeface="Source Sans Pro"/>
                        </a:defRPr>
                      </a:lvl8pPr>
                      <a:lvl9pPr marL="2057400" algn="l" defTabSz="514350" rtl="0" eaLnBrk="1" latinLnBrk="0" hangingPunct="1">
                        <a:defRPr sz="1013" kern="1200">
                          <a:solidFill>
                            <a:schemeClr val="dk1"/>
                          </a:solidFill>
                          <a:latin typeface="Source Sans Pro"/>
                        </a:defRPr>
                      </a:lvl9pPr>
                    </a:lstStyle>
                    <a:p>
                      <a:endParaRPr lang="en-US" sz="1200" dirty="0">
                        <a:solidFill>
                          <a:schemeClr val="bg1"/>
                        </a:solidFill>
                      </a:endParaRPr>
                    </a:p>
                  </a:txBody>
                  <a:tcPr>
                    <a:lnL w="76200" cap="flat" cmpd="sng" algn="ctr">
                      <a:noFill/>
                      <a:prstDash val="solid"/>
                      <a:round/>
                      <a:headEnd type="none" w="med" len="med"/>
                      <a:tailEnd type="none" w="med" len="med"/>
                    </a:lnL>
                    <a:lnR w="38100" cap="flat" cmpd="sng" algn="ctr">
                      <a:noFill/>
                      <a:prstDash val="solid"/>
                      <a:round/>
                      <a:headEnd type="none" w="med" len="med"/>
                      <a:tailEnd type="none" w="med" len="med"/>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rgbClr val="D84639">
                        <a:alpha val="10000"/>
                      </a:srgbClr>
                    </a:solidFill>
                  </a:tcPr>
                </a:tc>
                <a:tc>
                  <a:txBody>
                    <a:bodyPr/>
                    <a:lstStyle>
                      <a:lvl1pPr marL="0" algn="l" defTabSz="514350" rtl="0" eaLnBrk="1" latinLnBrk="0" hangingPunct="1">
                        <a:defRPr sz="1013" kern="1200">
                          <a:solidFill>
                            <a:schemeClr val="dk1"/>
                          </a:solidFill>
                          <a:latin typeface="Source Sans Pro"/>
                        </a:defRPr>
                      </a:lvl1pPr>
                      <a:lvl2pPr marL="257175" algn="l" defTabSz="514350" rtl="0" eaLnBrk="1" latinLnBrk="0" hangingPunct="1">
                        <a:defRPr sz="1013" kern="1200">
                          <a:solidFill>
                            <a:schemeClr val="dk1"/>
                          </a:solidFill>
                          <a:latin typeface="Source Sans Pro"/>
                        </a:defRPr>
                      </a:lvl2pPr>
                      <a:lvl3pPr marL="514350" algn="l" defTabSz="514350" rtl="0" eaLnBrk="1" latinLnBrk="0" hangingPunct="1">
                        <a:defRPr sz="1013" kern="1200">
                          <a:solidFill>
                            <a:schemeClr val="dk1"/>
                          </a:solidFill>
                          <a:latin typeface="Source Sans Pro"/>
                        </a:defRPr>
                      </a:lvl3pPr>
                      <a:lvl4pPr marL="771525" algn="l" defTabSz="514350" rtl="0" eaLnBrk="1" latinLnBrk="0" hangingPunct="1">
                        <a:defRPr sz="1013" kern="1200">
                          <a:solidFill>
                            <a:schemeClr val="dk1"/>
                          </a:solidFill>
                          <a:latin typeface="Source Sans Pro"/>
                        </a:defRPr>
                      </a:lvl4pPr>
                      <a:lvl5pPr marL="1028700" algn="l" defTabSz="514350" rtl="0" eaLnBrk="1" latinLnBrk="0" hangingPunct="1">
                        <a:defRPr sz="1013" kern="1200">
                          <a:solidFill>
                            <a:schemeClr val="dk1"/>
                          </a:solidFill>
                          <a:latin typeface="Source Sans Pro"/>
                        </a:defRPr>
                      </a:lvl5pPr>
                      <a:lvl6pPr marL="1285875" algn="l" defTabSz="514350" rtl="0" eaLnBrk="1" latinLnBrk="0" hangingPunct="1">
                        <a:defRPr sz="1013" kern="1200">
                          <a:solidFill>
                            <a:schemeClr val="dk1"/>
                          </a:solidFill>
                          <a:latin typeface="Source Sans Pro"/>
                        </a:defRPr>
                      </a:lvl6pPr>
                      <a:lvl7pPr marL="1543050" algn="l" defTabSz="514350" rtl="0" eaLnBrk="1" latinLnBrk="0" hangingPunct="1">
                        <a:defRPr sz="1013" kern="1200">
                          <a:solidFill>
                            <a:schemeClr val="dk1"/>
                          </a:solidFill>
                          <a:latin typeface="Source Sans Pro"/>
                        </a:defRPr>
                      </a:lvl7pPr>
                      <a:lvl8pPr marL="1800225" algn="l" defTabSz="514350" rtl="0" eaLnBrk="1" latinLnBrk="0" hangingPunct="1">
                        <a:defRPr sz="1013" kern="1200">
                          <a:solidFill>
                            <a:schemeClr val="dk1"/>
                          </a:solidFill>
                          <a:latin typeface="Source Sans Pro"/>
                        </a:defRPr>
                      </a:lvl8pPr>
                      <a:lvl9pPr marL="2057400" algn="l" defTabSz="514350" rtl="0" eaLnBrk="1" latinLnBrk="0" hangingPunct="1">
                        <a:defRPr sz="1013" kern="1200">
                          <a:solidFill>
                            <a:schemeClr val="dk1"/>
                          </a:solidFill>
                          <a:latin typeface="Source Sans Pro"/>
                        </a:defRPr>
                      </a:lvl9pPr>
                    </a:lstStyle>
                    <a:p>
                      <a:pPr marL="171450" lvl="0" indent="-171450">
                        <a:buClr>
                          <a:schemeClr val="tx2"/>
                        </a:buClr>
                        <a:buFont typeface="Wingdings" panose="05000000000000000000" pitchFamily="2" charset="2"/>
                        <a:buChar char="§"/>
                      </a:pPr>
                      <a:r>
                        <a:rPr lang="en-US" sz="1100" b="0" i="0" baseline="0" dirty="0">
                          <a:solidFill>
                            <a:schemeClr val="tx1"/>
                          </a:solidFill>
                          <a:latin typeface="Source Sans Pro" panose="020B0503030403020204" pitchFamily="34" charset="0"/>
                          <a:ea typeface="Source Sans Pro" panose="020B0503030403020204" pitchFamily="34" charset="0"/>
                        </a:rPr>
                        <a:t>Document to be shared with FHFA or other U.S. government agency.</a:t>
                      </a:r>
                    </a:p>
                    <a:p>
                      <a:pPr marL="171450" lvl="0" indent="-171450">
                        <a:buClr>
                          <a:schemeClr val="tx2"/>
                        </a:buClr>
                        <a:buFont typeface="Wingdings" panose="05000000000000000000" pitchFamily="2" charset="2"/>
                        <a:buChar char="§"/>
                      </a:pPr>
                      <a:r>
                        <a:rPr lang="en-US" sz="1100" b="0" i="0" baseline="0" dirty="0">
                          <a:solidFill>
                            <a:schemeClr val="tx1"/>
                          </a:solidFill>
                          <a:latin typeface="Source Sans Pro" panose="020B0503030403020204" pitchFamily="34" charset="0"/>
                          <a:ea typeface="Source Sans Pro" panose="020B0503030403020204" pitchFamily="34" charset="0"/>
                        </a:rPr>
                        <a:t>This label must be included on every page.</a:t>
                      </a:r>
                    </a:p>
                  </a:txBody>
                  <a:tcPr marL="182880" marR="182880" marT="91440" marB="91440" anchor="ctr">
                    <a:lnL w="38100" cap="flat" cmpd="sng" algn="ctr">
                      <a:noFill/>
                      <a:prstDash val="solid"/>
                      <a:round/>
                      <a:headEnd type="none" w="med" len="med"/>
                      <a:tailEnd type="none" w="med" len="med"/>
                    </a:lnL>
                    <a:lnR w="12700" cmpd="sng">
                      <a:noFill/>
                    </a:lnR>
                    <a:lnT w="3175" cap="flat" cmpd="sng" algn="ctr">
                      <a:solidFill>
                        <a:srgbClr val="D8D6DC"/>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D84639">
                        <a:alpha val="10000"/>
                      </a:srgbClr>
                    </a:solidFill>
                  </a:tcPr>
                </a:tc>
                <a:extLst>
                  <a:ext uri="{0D108BD9-81ED-4DB2-BD59-A6C34878D82A}">
                    <a16:rowId xmlns:a16="http://schemas.microsoft.com/office/drawing/2014/main" val="1777603747"/>
                  </a:ext>
                </a:extLst>
              </a:tr>
            </a:tbl>
          </a:graphicData>
        </a:graphic>
      </p:graphicFrame>
      <p:sp>
        <p:nvSpPr>
          <p:cNvPr id="59" name="Rectangle 58">
            <a:extLst>
              <a:ext uri="{FF2B5EF4-FFF2-40B4-BE49-F238E27FC236}">
                <a16:creationId xmlns:a16="http://schemas.microsoft.com/office/drawing/2014/main" id="{02FA1E51-9887-5141-84AE-D700136E208B}"/>
              </a:ext>
            </a:extLst>
          </p:cNvPr>
          <p:cNvSpPr/>
          <p:nvPr userDrawn="1"/>
        </p:nvSpPr>
        <p:spPr>
          <a:xfrm>
            <a:off x="3988420" y="2159859"/>
            <a:ext cx="1167159" cy="587453"/>
          </a:xfrm>
          <a:prstGeom prst="rect">
            <a:avLst/>
          </a:prstGeom>
          <a:noFill/>
          <a:ln w="12700" cap="flat" cmpd="sng" algn="ctr">
            <a:noFill/>
            <a:prstDash val="solid"/>
            <a:miter lim="800000"/>
          </a:ln>
          <a:effectLst/>
        </p:spPr>
        <p:txBody>
          <a:bodyPr tIns="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F2A"/>
                </a:solidFill>
                <a:effectLst/>
                <a:uLnTx/>
                <a:uFillTx/>
                <a:latin typeface="Source Sans Pro"/>
                <a:ea typeface="Source Sans Pro" panose="020B0503030403020204" pitchFamily="34" charset="0"/>
                <a:cs typeface="+mn-cs"/>
              </a:rPr>
              <a:t>No confidentiality </a:t>
            </a:r>
            <a:br>
              <a:rPr kumimoji="0" lang="en-US" sz="1100" b="0" i="0" u="none" strike="noStrike" kern="0" cap="none" spc="0" normalizeH="0" baseline="0" noProof="0" dirty="0">
                <a:ln>
                  <a:noFill/>
                </a:ln>
                <a:solidFill>
                  <a:srgbClr val="000F2A"/>
                </a:solidFill>
                <a:effectLst/>
                <a:uLnTx/>
                <a:uFillTx/>
                <a:latin typeface="Source Sans Pro"/>
                <a:ea typeface="Source Sans Pro" panose="020B0503030403020204" pitchFamily="34" charset="0"/>
                <a:cs typeface="+mn-cs"/>
              </a:rPr>
            </a:br>
            <a:r>
              <a:rPr kumimoji="0" lang="en-US" sz="1100" b="0" i="0" u="none" strike="noStrike" kern="0" cap="none" spc="0" normalizeH="0" baseline="0" noProof="0" dirty="0">
                <a:ln>
                  <a:noFill/>
                </a:ln>
                <a:solidFill>
                  <a:srgbClr val="000F2A"/>
                </a:solidFill>
                <a:effectLst/>
                <a:uLnTx/>
                <a:uFillTx/>
                <a:latin typeface="Source Sans Pro"/>
                <a:ea typeface="Source Sans Pro" panose="020B0503030403020204" pitchFamily="34" charset="0"/>
                <a:cs typeface="+mn-cs"/>
              </a:rPr>
              <a:t>label needed</a:t>
            </a:r>
            <a:endParaRPr kumimoji="0" lang="id-ID" sz="1100" b="0" i="0" u="none" strike="noStrike" kern="0" cap="none" spc="0" normalizeH="0" baseline="0" noProof="0" dirty="0">
              <a:ln>
                <a:noFill/>
              </a:ln>
              <a:solidFill>
                <a:srgbClr val="000F2A"/>
              </a:solidFill>
              <a:effectLst/>
              <a:uLnTx/>
              <a:uFillTx/>
              <a:latin typeface="Source Sans Pro"/>
              <a:ea typeface="Source Sans Pro" panose="020B0503030403020204" pitchFamily="34" charset="0"/>
              <a:cs typeface="+mn-cs"/>
            </a:endParaRPr>
          </a:p>
        </p:txBody>
      </p:sp>
      <p:sp>
        <p:nvSpPr>
          <p:cNvPr id="60" name="Rectangle 59">
            <a:extLst>
              <a:ext uri="{FF2B5EF4-FFF2-40B4-BE49-F238E27FC236}">
                <a16:creationId xmlns:a16="http://schemas.microsoft.com/office/drawing/2014/main" id="{3E789320-52F4-824B-BAE3-FFAD8F268331}"/>
              </a:ext>
            </a:extLst>
          </p:cNvPr>
          <p:cNvSpPr/>
          <p:nvPr userDrawn="1"/>
        </p:nvSpPr>
        <p:spPr>
          <a:xfrm>
            <a:off x="3796775" y="1358691"/>
            <a:ext cx="154910" cy="2219178"/>
          </a:xfrm>
          <a:prstGeom prst="rect">
            <a:avLst/>
          </a:prstGeom>
          <a:solidFill>
            <a:srgbClr val="000F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ource Sans Pro"/>
              <a:ea typeface="+mn-ea"/>
              <a:cs typeface="+mn-cs"/>
            </a:endParaRPr>
          </a:p>
        </p:txBody>
      </p:sp>
      <p:sp>
        <p:nvSpPr>
          <p:cNvPr id="61" name="Rectangle 60">
            <a:extLst>
              <a:ext uri="{FF2B5EF4-FFF2-40B4-BE49-F238E27FC236}">
                <a16:creationId xmlns:a16="http://schemas.microsoft.com/office/drawing/2014/main" id="{5B24BA14-7FFD-3C46-81CA-58C7C2F7A394}"/>
              </a:ext>
            </a:extLst>
          </p:cNvPr>
          <p:cNvSpPr/>
          <p:nvPr userDrawn="1"/>
        </p:nvSpPr>
        <p:spPr>
          <a:xfrm>
            <a:off x="3796775" y="3578224"/>
            <a:ext cx="154910" cy="1469669"/>
          </a:xfrm>
          <a:prstGeom prst="rect">
            <a:avLst/>
          </a:prstGeom>
          <a:solidFill>
            <a:srgbClr val="20AB2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ource Sans Pro"/>
              <a:ea typeface="+mn-ea"/>
              <a:cs typeface="+mn-cs"/>
            </a:endParaRPr>
          </a:p>
        </p:txBody>
      </p:sp>
      <p:sp>
        <p:nvSpPr>
          <p:cNvPr id="64" name="Rectangle 63">
            <a:extLst>
              <a:ext uri="{FF2B5EF4-FFF2-40B4-BE49-F238E27FC236}">
                <a16:creationId xmlns:a16="http://schemas.microsoft.com/office/drawing/2014/main" id="{F6907952-149A-0C4E-A8BF-96BA2F0A6AA4}"/>
              </a:ext>
            </a:extLst>
          </p:cNvPr>
          <p:cNvSpPr/>
          <p:nvPr userDrawn="1"/>
        </p:nvSpPr>
        <p:spPr>
          <a:xfrm>
            <a:off x="3796775" y="5048250"/>
            <a:ext cx="154910" cy="1809749"/>
          </a:xfrm>
          <a:prstGeom prst="rect">
            <a:avLst/>
          </a:prstGeom>
          <a:solidFill>
            <a:srgbClr val="AD1A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Source Sans Pro"/>
              <a:ea typeface="+mn-ea"/>
              <a:cs typeface="+mn-cs"/>
            </a:endParaRPr>
          </a:p>
        </p:txBody>
      </p:sp>
    </p:spTree>
    <p:extLst>
      <p:ext uri="{BB962C8B-B14F-4D97-AF65-F5344CB8AC3E}">
        <p14:creationId xmlns:p14="http://schemas.microsoft.com/office/powerpoint/2010/main" val="14628831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F552C016-A163-794C-BECD-A48583FA348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5418668"/>
            <a:ext cx="9144000" cy="1439333"/>
          </a:xfrm>
          <a:prstGeom prst="rect">
            <a:avLst/>
          </a:prstGeom>
        </p:spPr>
      </p:pic>
      <p:sp>
        <p:nvSpPr>
          <p:cNvPr id="16" name="Rectangle 15">
            <a:extLst>
              <a:ext uri="{FF2B5EF4-FFF2-40B4-BE49-F238E27FC236}">
                <a16:creationId xmlns:a16="http://schemas.microsoft.com/office/drawing/2014/main" id="{DA7223C3-E32F-334F-9044-ED6D0D7A66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dirty="0">
                <a:solidFill>
                  <a:schemeClr val="bg1"/>
                </a:solidFill>
              </a:rPr>
              <a:t>© 2018 Fannie Mae. Trademarks of Fannie Mae.</a:t>
            </a:r>
          </a:p>
        </p:txBody>
      </p:sp>
      <p:pic>
        <p:nvPicPr>
          <p:cNvPr id="17" name="Graphic 16">
            <a:extLst>
              <a:ext uri="{FF2B5EF4-FFF2-40B4-BE49-F238E27FC236}">
                <a16:creationId xmlns:a16="http://schemas.microsoft.com/office/drawing/2014/main" id="{437D36A6-38EC-2E45-AD3D-6C8685B3AF86}"/>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940296" y="6089901"/>
            <a:ext cx="1572671" cy="621792"/>
          </a:xfrm>
          <a:prstGeom prst="rect">
            <a:avLst/>
          </a:prstGeom>
        </p:spPr>
      </p:pic>
      <p:sp>
        <p:nvSpPr>
          <p:cNvPr id="18" name="Title 1">
            <a:extLst>
              <a:ext uri="{FF2B5EF4-FFF2-40B4-BE49-F238E27FC236}">
                <a16:creationId xmlns:a16="http://schemas.microsoft.com/office/drawing/2014/main" id="{00C74AE4-3A4D-CF4F-9415-EC961010C971}"/>
              </a:ext>
            </a:extLst>
          </p:cNvPr>
          <p:cNvSpPr>
            <a:spLocks noGrp="1"/>
          </p:cNvSpPr>
          <p:nvPr>
            <p:ph type="title" hasCustomPrompt="1"/>
          </p:nvPr>
        </p:nvSpPr>
        <p:spPr>
          <a:xfrm>
            <a:off x="685800" y="1371600"/>
            <a:ext cx="7315200" cy="513987"/>
          </a:xfrm>
        </p:spPr>
        <p:txBody>
          <a:bodyPr/>
          <a:lstStyle>
            <a:lvl1pPr>
              <a:defRPr>
                <a:solidFill>
                  <a:schemeClr val="tx2"/>
                </a:solidFill>
              </a:defRPr>
            </a:lvl1pPr>
          </a:lstStyle>
          <a:p>
            <a:r>
              <a:rPr lang="en-US"/>
              <a:t>Insert presentation title</a:t>
            </a:r>
          </a:p>
        </p:txBody>
      </p:sp>
      <p:sp>
        <p:nvSpPr>
          <p:cNvPr id="19" name="object 5">
            <a:extLst>
              <a:ext uri="{FF2B5EF4-FFF2-40B4-BE49-F238E27FC236}">
                <a16:creationId xmlns:a16="http://schemas.microsoft.com/office/drawing/2014/main" id="{481CE969-A691-3E44-A323-E09EB2975A9E}"/>
              </a:ext>
            </a:extLst>
          </p:cNvPr>
          <p:cNvSpPr/>
          <p:nvPr userDrawn="1"/>
        </p:nvSpPr>
        <p:spPr>
          <a:xfrm>
            <a:off x="685801" y="914401"/>
            <a:ext cx="64388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sz="1350" dirty="0"/>
          </a:p>
        </p:txBody>
      </p:sp>
      <p:sp>
        <p:nvSpPr>
          <p:cNvPr id="20" name="Text Placeholder 5">
            <a:extLst>
              <a:ext uri="{FF2B5EF4-FFF2-40B4-BE49-F238E27FC236}">
                <a16:creationId xmlns:a16="http://schemas.microsoft.com/office/drawing/2014/main" id="{644A4E00-7F18-884E-A02A-4A96B0795AFF}"/>
              </a:ext>
            </a:extLst>
          </p:cNvPr>
          <p:cNvSpPr>
            <a:spLocks noGrp="1"/>
          </p:cNvSpPr>
          <p:nvPr>
            <p:ph type="body" sz="quarter" idx="10" hasCustomPrompt="1"/>
          </p:nvPr>
        </p:nvSpPr>
        <p:spPr>
          <a:xfrm>
            <a:off x="685800" y="2157984"/>
            <a:ext cx="6066318" cy="332399"/>
          </a:xfrm>
        </p:spPr>
        <p:txBody>
          <a:bodyPr/>
          <a:lstStyle>
            <a:lvl1pPr>
              <a:defRPr sz="2400" b="0" i="0" baseline="0">
                <a:solidFill>
                  <a:schemeClr val="tx2"/>
                </a:solidFill>
                <a:latin typeface="+mn-lt"/>
              </a:defRPr>
            </a:lvl1pPr>
          </a:lstStyle>
          <a:p>
            <a:pPr lvl="0"/>
            <a:r>
              <a:rPr lang="en-US"/>
              <a:t>Insert subheader</a:t>
            </a:r>
          </a:p>
        </p:txBody>
      </p:sp>
      <p:sp>
        <p:nvSpPr>
          <p:cNvPr id="21" name="Text Placeholder 5">
            <a:extLst>
              <a:ext uri="{FF2B5EF4-FFF2-40B4-BE49-F238E27FC236}">
                <a16:creationId xmlns:a16="http://schemas.microsoft.com/office/drawing/2014/main" id="{4D64DD5B-EF5E-C04D-8E4C-97E039C56D1D}"/>
              </a:ext>
            </a:extLst>
          </p:cNvPr>
          <p:cNvSpPr>
            <a:spLocks noGrp="1"/>
          </p:cNvSpPr>
          <p:nvPr>
            <p:ph type="body" sz="quarter" idx="11" hasCustomPrompt="1"/>
          </p:nvPr>
        </p:nvSpPr>
        <p:spPr>
          <a:xfrm>
            <a:off x="685800" y="3202773"/>
            <a:ext cx="6066318" cy="249299"/>
          </a:xfrm>
        </p:spPr>
        <p:txBody>
          <a:bodyPr/>
          <a:lstStyle>
            <a:lvl1pPr>
              <a:defRPr sz="1800" b="0" i="0" baseline="0">
                <a:solidFill>
                  <a:schemeClr val="tx2"/>
                </a:solidFill>
                <a:latin typeface="+mn-lt"/>
              </a:defRPr>
            </a:lvl1pPr>
          </a:lstStyle>
          <a:p>
            <a:pPr lvl="0"/>
            <a:r>
              <a:rPr lang="en-US"/>
              <a:t>Insert speaker, date, location, etc. </a:t>
            </a:r>
          </a:p>
        </p:txBody>
      </p:sp>
    </p:spTree>
    <p:extLst>
      <p:ext uri="{BB962C8B-B14F-4D97-AF65-F5344CB8AC3E}">
        <p14:creationId xmlns:p14="http://schemas.microsoft.com/office/powerpoint/2010/main" val="12896360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avy">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10A26-98E5-0B42-9AC7-B4924149186F}"/>
              </a:ext>
            </a:extLst>
          </p:cNvPr>
          <p:cNvSpPr>
            <a:spLocks noGrp="1"/>
          </p:cNvSpPr>
          <p:nvPr>
            <p:ph type="title" hasCustomPrompt="1"/>
          </p:nvPr>
        </p:nvSpPr>
        <p:spPr>
          <a:xfrm>
            <a:off x="685800" y="2742185"/>
            <a:ext cx="7315200" cy="513987"/>
          </a:xfrm>
        </p:spPr>
        <p:txBody>
          <a:bodyPr/>
          <a:lstStyle>
            <a:lvl1pPr>
              <a:defRPr>
                <a:solidFill>
                  <a:schemeClr val="bg1"/>
                </a:solidFill>
              </a:defRPr>
            </a:lvl1pPr>
          </a:lstStyle>
          <a:p>
            <a:r>
              <a:rPr lang="en-US"/>
              <a:t>Insert presentation title</a:t>
            </a:r>
          </a:p>
        </p:txBody>
      </p:sp>
      <p:sp>
        <p:nvSpPr>
          <p:cNvPr id="3" name="object 5">
            <a:extLst>
              <a:ext uri="{FF2B5EF4-FFF2-40B4-BE49-F238E27FC236}">
                <a16:creationId xmlns:a16="http://schemas.microsoft.com/office/drawing/2014/main" id="{1B5A447A-67BD-BF41-BE8B-CC1A1A89E3CB}"/>
              </a:ext>
            </a:extLst>
          </p:cNvPr>
          <p:cNvSpPr/>
          <p:nvPr userDrawn="1"/>
        </p:nvSpPr>
        <p:spPr>
          <a:xfrm>
            <a:off x="685801" y="2286001"/>
            <a:ext cx="64388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sz="1350" dirty="0"/>
          </a:p>
        </p:txBody>
      </p:sp>
      <p:pic>
        <p:nvPicPr>
          <p:cNvPr id="9" name="Graphic 8">
            <a:extLst>
              <a:ext uri="{FF2B5EF4-FFF2-40B4-BE49-F238E27FC236}">
                <a16:creationId xmlns:a16="http://schemas.microsoft.com/office/drawing/2014/main" id="{D0EDF683-1B8F-9844-82DD-FB790BCE03D6}"/>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 y="-1"/>
            <a:ext cx="9189720" cy="1378459"/>
          </a:xfrm>
          <a:prstGeom prst="rect">
            <a:avLst/>
          </a:prstGeom>
        </p:spPr>
      </p:pic>
      <p:sp>
        <p:nvSpPr>
          <p:cNvPr id="7" name="Text Placeholder 5">
            <a:extLst>
              <a:ext uri="{FF2B5EF4-FFF2-40B4-BE49-F238E27FC236}">
                <a16:creationId xmlns:a16="http://schemas.microsoft.com/office/drawing/2014/main" id="{31F336FF-EE3D-CD49-A57E-D8D7917B8EFA}"/>
              </a:ext>
            </a:extLst>
          </p:cNvPr>
          <p:cNvSpPr>
            <a:spLocks noGrp="1"/>
          </p:cNvSpPr>
          <p:nvPr>
            <p:ph type="body" sz="quarter" idx="10" hasCustomPrompt="1"/>
          </p:nvPr>
        </p:nvSpPr>
        <p:spPr>
          <a:xfrm>
            <a:off x="685800" y="3529093"/>
            <a:ext cx="6066318" cy="332399"/>
          </a:xfrm>
        </p:spPr>
        <p:txBody>
          <a:bodyPr/>
          <a:lstStyle>
            <a:lvl1pPr>
              <a:defRPr sz="2400" b="0" i="0" baseline="0">
                <a:solidFill>
                  <a:schemeClr val="bg1"/>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77160A90-74CA-774C-9971-5D2FCFF86711}"/>
              </a:ext>
            </a:extLst>
          </p:cNvPr>
          <p:cNvSpPr>
            <a:spLocks noGrp="1"/>
          </p:cNvSpPr>
          <p:nvPr>
            <p:ph type="body" sz="quarter" idx="11" hasCustomPrompt="1"/>
          </p:nvPr>
        </p:nvSpPr>
        <p:spPr>
          <a:xfrm>
            <a:off x="685800" y="4574373"/>
            <a:ext cx="6066318" cy="249299"/>
          </a:xfrm>
        </p:spPr>
        <p:txBody>
          <a:bodyPr/>
          <a:lstStyle>
            <a:lvl1pPr>
              <a:defRPr sz="1800" b="0" i="0" baseline="0">
                <a:solidFill>
                  <a:schemeClr val="bg1"/>
                </a:solidFill>
                <a:latin typeface="+mn-lt"/>
              </a:defRPr>
            </a:lvl1pPr>
          </a:lstStyle>
          <a:p>
            <a:pPr lvl="0"/>
            <a:r>
              <a:rPr lang="en-US"/>
              <a:t>Insert speaker, date, location, etc. </a:t>
            </a:r>
          </a:p>
        </p:txBody>
      </p:sp>
      <p:sp>
        <p:nvSpPr>
          <p:cNvPr id="10" name="Rectangle 9">
            <a:extLst>
              <a:ext uri="{FF2B5EF4-FFF2-40B4-BE49-F238E27FC236}">
                <a16:creationId xmlns:a16="http://schemas.microsoft.com/office/drawing/2014/main" id="{CFB7B772-3724-4747-A069-F3306CBEAACD}"/>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dirty="0">
                <a:solidFill>
                  <a:schemeClr val="bg1"/>
                </a:solidFill>
              </a:rPr>
              <a:t>© 2018 Fannie Mae. Trademarks of Fannie Mae.</a:t>
            </a:r>
          </a:p>
        </p:txBody>
      </p:sp>
      <p:pic>
        <p:nvPicPr>
          <p:cNvPr id="12" name="Graphic 11">
            <a:extLst>
              <a:ext uri="{FF2B5EF4-FFF2-40B4-BE49-F238E27FC236}">
                <a16:creationId xmlns:a16="http://schemas.microsoft.com/office/drawing/2014/main" id="{5DD2A354-F188-684D-845C-E58D473C3003}"/>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940296" y="6089901"/>
            <a:ext cx="1572671" cy="621792"/>
          </a:xfrm>
          <a:prstGeom prst="rect">
            <a:avLst/>
          </a:prstGeom>
        </p:spPr>
      </p:pic>
    </p:spTree>
    <p:extLst>
      <p:ext uri="{BB962C8B-B14F-4D97-AF65-F5344CB8AC3E}">
        <p14:creationId xmlns:p14="http://schemas.microsoft.com/office/powerpoint/2010/main" val="25168319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3C2352D-98BB-6F40-8FE0-7ADDF7FC1F37}"/>
              </a:ext>
            </a:extLst>
          </p:cNvPr>
          <p:cNvSpPr>
            <a:spLocks noGrp="1"/>
          </p:cNvSpPr>
          <p:nvPr>
            <p:ph type="pic" sz="quarter" idx="12"/>
          </p:nvPr>
        </p:nvSpPr>
        <p:spPr>
          <a:xfrm>
            <a:off x="685800" y="0"/>
            <a:ext cx="3714750" cy="207749"/>
          </a:xfrm>
          <a:solidFill>
            <a:schemeClr val="bg2"/>
          </a:solidFill>
        </p:spPr>
        <p:txBody>
          <a:bodyPr/>
          <a:lstStyle/>
          <a:p>
            <a:endParaRPr lang="en-US" dirty="0"/>
          </a:p>
        </p:txBody>
      </p:sp>
      <p:sp>
        <p:nvSpPr>
          <p:cNvPr id="3" name="object 5">
            <a:extLst>
              <a:ext uri="{FF2B5EF4-FFF2-40B4-BE49-F238E27FC236}">
                <a16:creationId xmlns:a16="http://schemas.microsoft.com/office/drawing/2014/main" id="{1B5A447A-67BD-BF41-BE8B-CC1A1A89E3CB}"/>
              </a:ext>
            </a:extLst>
          </p:cNvPr>
          <p:cNvSpPr/>
          <p:nvPr userDrawn="1"/>
        </p:nvSpPr>
        <p:spPr>
          <a:xfrm>
            <a:off x="4748465" y="914401"/>
            <a:ext cx="64388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sz="1350" dirty="0"/>
          </a:p>
        </p:txBody>
      </p:sp>
      <p:sp>
        <p:nvSpPr>
          <p:cNvPr id="8" name="Text Placeholder 5">
            <a:extLst>
              <a:ext uri="{FF2B5EF4-FFF2-40B4-BE49-F238E27FC236}">
                <a16:creationId xmlns:a16="http://schemas.microsoft.com/office/drawing/2014/main" id="{07A4E0A3-611B-614C-9AE8-50CA076E111F}"/>
              </a:ext>
            </a:extLst>
          </p:cNvPr>
          <p:cNvSpPr>
            <a:spLocks noGrp="1"/>
          </p:cNvSpPr>
          <p:nvPr>
            <p:ph type="body" sz="quarter" idx="10" hasCustomPrompt="1"/>
          </p:nvPr>
        </p:nvSpPr>
        <p:spPr>
          <a:xfrm>
            <a:off x="4743450" y="3529093"/>
            <a:ext cx="3769517" cy="332399"/>
          </a:xfrm>
        </p:spPr>
        <p:txBody>
          <a:bodyPr/>
          <a:lstStyle>
            <a:lvl1pPr>
              <a:defRPr sz="2400" b="0" i="0" baseline="0">
                <a:solidFill>
                  <a:schemeClr val="bg1"/>
                </a:solidFill>
                <a:latin typeface="+mn-lt"/>
              </a:defRPr>
            </a:lvl1pPr>
          </a:lstStyle>
          <a:p>
            <a:pPr lvl="0"/>
            <a:r>
              <a:rPr lang="en-US"/>
              <a:t>Insert subheader</a:t>
            </a:r>
          </a:p>
        </p:txBody>
      </p:sp>
      <p:sp>
        <p:nvSpPr>
          <p:cNvPr id="9" name="Text Placeholder 5">
            <a:extLst>
              <a:ext uri="{FF2B5EF4-FFF2-40B4-BE49-F238E27FC236}">
                <a16:creationId xmlns:a16="http://schemas.microsoft.com/office/drawing/2014/main" id="{A55C9EBC-D643-8144-BA7A-91C891736796}"/>
              </a:ext>
            </a:extLst>
          </p:cNvPr>
          <p:cNvSpPr>
            <a:spLocks noGrp="1"/>
          </p:cNvSpPr>
          <p:nvPr>
            <p:ph type="body" sz="quarter" idx="11" hasCustomPrompt="1"/>
          </p:nvPr>
        </p:nvSpPr>
        <p:spPr>
          <a:xfrm>
            <a:off x="4743450" y="4574373"/>
            <a:ext cx="3769517" cy="249299"/>
          </a:xfrm>
        </p:spPr>
        <p:txBody>
          <a:bodyPr/>
          <a:lstStyle>
            <a:lvl1pPr>
              <a:defRPr sz="1800" b="0" i="0" baseline="0">
                <a:solidFill>
                  <a:schemeClr val="bg1"/>
                </a:solidFill>
                <a:latin typeface="+mn-lt"/>
              </a:defRPr>
            </a:lvl1pPr>
          </a:lstStyle>
          <a:p>
            <a:pPr lvl="0"/>
            <a:r>
              <a:rPr lang="en-US"/>
              <a:t>Insert speaker, date, location, etc. </a:t>
            </a:r>
          </a:p>
        </p:txBody>
      </p:sp>
      <p:pic>
        <p:nvPicPr>
          <p:cNvPr id="10" name="Graphic 9">
            <a:extLst>
              <a:ext uri="{FF2B5EF4-FFF2-40B4-BE49-F238E27FC236}">
                <a16:creationId xmlns:a16="http://schemas.microsoft.com/office/drawing/2014/main" id="{D294ACA6-23C3-BF46-97C5-89DD3074577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940296" y="6089901"/>
            <a:ext cx="1572671" cy="621792"/>
          </a:xfrm>
          <a:prstGeom prst="rect">
            <a:avLst/>
          </a:prstGeom>
        </p:spPr>
      </p:pic>
      <p:sp>
        <p:nvSpPr>
          <p:cNvPr id="11" name="Rectangle 10">
            <a:extLst>
              <a:ext uri="{FF2B5EF4-FFF2-40B4-BE49-F238E27FC236}">
                <a16:creationId xmlns:a16="http://schemas.microsoft.com/office/drawing/2014/main" id="{CFCCB352-9259-1149-BC96-ACF56DFFC14D}"/>
              </a:ext>
            </a:extLst>
          </p:cNvPr>
          <p:cNvSpPr/>
          <p:nvPr userDrawn="1"/>
        </p:nvSpPr>
        <p:spPr>
          <a:xfrm>
            <a:off x="4748464" y="6343089"/>
            <a:ext cx="2029643" cy="115416"/>
          </a:xfrm>
          <a:prstGeom prst="rect">
            <a:avLst/>
          </a:prstGeom>
        </p:spPr>
        <p:txBody>
          <a:bodyPr vert="horz" lIns="0" tIns="0" rIns="0" bIns="0" rtlCol="0" anchor="ctr">
            <a:spAutoFit/>
          </a:bodyPr>
          <a:lstStyle/>
          <a:p>
            <a:pPr lvl="0"/>
            <a:r>
              <a:rPr lang="en-US" sz="750" dirty="0">
                <a:solidFill>
                  <a:schemeClr val="bg1"/>
                </a:solidFill>
              </a:rPr>
              <a:t>© 2018 Fannie Mae. Trademarks of Fannie Mae.</a:t>
            </a:r>
          </a:p>
        </p:txBody>
      </p:sp>
      <p:sp>
        <p:nvSpPr>
          <p:cNvPr id="4" name="Title 3">
            <a:extLst>
              <a:ext uri="{FF2B5EF4-FFF2-40B4-BE49-F238E27FC236}">
                <a16:creationId xmlns:a16="http://schemas.microsoft.com/office/drawing/2014/main" id="{8529C054-E1A1-AC4A-AE6D-F63ECF94F771}"/>
              </a:ext>
            </a:extLst>
          </p:cNvPr>
          <p:cNvSpPr>
            <a:spLocks noGrp="1"/>
          </p:cNvSpPr>
          <p:nvPr>
            <p:ph type="title" hasCustomPrompt="1"/>
          </p:nvPr>
        </p:nvSpPr>
        <p:spPr>
          <a:xfrm>
            <a:off x="4748465" y="1370586"/>
            <a:ext cx="3764502" cy="1483483"/>
          </a:xfrm>
        </p:spPr>
        <p:txBody>
          <a:bodyPr vert="horz" wrap="square" lIns="0" tIns="0" rIns="0" bIns="0" rtlCol="0" anchor="t">
            <a:spAutoFit/>
          </a:bodyPr>
          <a:lstStyle>
            <a:lvl1pPr>
              <a:defRPr lang="en-US">
                <a:solidFill>
                  <a:schemeClr val="bg1"/>
                </a:solidFill>
              </a:defRPr>
            </a:lvl1pPr>
          </a:lstStyle>
          <a:p>
            <a:pPr marL="0" lvl="0"/>
            <a:r>
              <a:rPr lang="en-US"/>
              <a:t>Insert presentation title</a:t>
            </a:r>
          </a:p>
        </p:txBody>
      </p:sp>
    </p:spTree>
    <p:extLst>
      <p:ext uri="{BB962C8B-B14F-4D97-AF65-F5344CB8AC3E}">
        <p14:creationId xmlns:p14="http://schemas.microsoft.com/office/powerpoint/2010/main" val="318326047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nner image">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23C2352D-98BB-6F40-8FE0-7ADDF7FC1F37}"/>
              </a:ext>
            </a:extLst>
          </p:cNvPr>
          <p:cNvSpPr>
            <a:spLocks noGrp="1"/>
          </p:cNvSpPr>
          <p:nvPr>
            <p:ph type="pic" sz="quarter" idx="12"/>
          </p:nvPr>
        </p:nvSpPr>
        <p:spPr>
          <a:xfrm>
            <a:off x="0" y="1"/>
            <a:ext cx="9144000" cy="207749"/>
          </a:xfrm>
          <a:solidFill>
            <a:schemeClr val="bg2"/>
          </a:solidFill>
        </p:spPr>
        <p:txBody>
          <a:bodyPr/>
          <a:lstStyle/>
          <a:p>
            <a:endParaRPr lang="en-US" dirty="0"/>
          </a:p>
        </p:txBody>
      </p:sp>
      <p:sp>
        <p:nvSpPr>
          <p:cNvPr id="8" name="Text Placeholder 5">
            <a:extLst>
              <a:ext uri="{FF2B5EF4-FFF2-40B4-BE49-F238E27FC236}">
                <a16:creationId xmlns:a16="http://schemas.microsoft.com/office/drawing/2014/main" id="{07A4E0A3-611B-614C-9AE8-50CA076E111F}"/>
              </a:ext>
            </a:extLst>
          </p:cNvPr>
          <p:cNvSpPr>
            <a:spLocks noGrp="1"/>
          </p:cNvSpPr>
          <p:nvPr>
            <p:ph type="body" sz="quarter" idx="10" hasCustomPrompt="1"/>
          </p:nvPr>
        </p:nvSpPr>
        <p:spPr>
          <a:xfrm>
            <a:off x="680786" y="5351361"/>
            <a:ext cx="7837593" cy="332399"/>
          </a:xfrm>
        </p:spPr>
        <p:txBody>
          <a:bodyPr/>
          <a:lstStyle>
            <a:lvl1pPr>
              <a:defRPr sz="2400" b="0" i="0" baseline="0">
                <a:solidFill>
                  <a:schemeClr val="bg1"/>
                </a:solidFill>
                <a:latin typeface="+mn-lt"/>
              </a:defRPr>
            </a:lvl1pPr>
          </a:lstStyle>
          <a:p>
            <a:pPr lvl="0"/>
            <a:r>
              <a:rPr lang="en-US"/>
              <a:t>Insert subheader</a:t>
            </a:r>
          </a:p>
        </p:txBody>
      </p:sp>
      <p:pic>
        <p:nvPicPr>
          <p:cNvPr id="10" name="Graphic 9">
            <a:extLst>
              <a:ext uri="{FF2B5EF4-FFF2-40B4-BE49-F238E27FC236}">
                <a16:creationId xmlns:a16="http://schemas.microsoft.com/office/drawing/2014/main" id="{D294ACA6-23C3-BF46-97C5-89DD3074577C}"/>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92931" y="6012957"/>
            <a:ext cx="1572671" cy="621792"/>
          </a:xfrm>
          <a:prstGeom prst="rect">
            <a:avLst/>
          </a:prstGeom>
        </p:spPr>
      </p:pic>
      <p:sp>
        <p:nvSpPr>
          <p:cNvPr id="11" name="Rectangle 10">
            <a:extLst>
              <a:ext uri="{FF2B5EF4-FFF2-40B4-BE49-F238E27FC236}">
                <a16:creationId xmlns:a16="http://schemas.microsoft.com/office/drawing/2014/main" id="{CFCCB352-9259-1149-BC96-ACF56DFFC14D}"/>
              </a:ext>
            </a:extLst>
          </p:cNvPr>
          <p:cNvSpPr/>
          <p:nvPr userDrawn="1"/>
        </p:nvSpPr>
        <p:spPr>
          <a:xfrm>
            <a:off x="6640372" y="6266145"/>
            <a:ext cx="2029643" cy="115416"/>
          </a:xfrm>
          <a:prstGeom prst="rect">
            <a:avLst/>
          </a:prstGeom>
        </p:spPr>
        <p:txBody>
          <a:bodyPr vert="horz" lIns="0" tIns="0" rIns="0" bIns="0" rtlCol="0" anchor="ctr">
            <a:spAutoFit/>
          </a:bodyPr>
          <a:lstStyle/>
          <a:p>
            <a:pPr lvl="0"/>
            <a:r>
              <a:rPr lang="en-US" sz="750" dirty="0">
                <a:solidFill>
                  <a:schemeClr val="bg1"/>
                </a:solidFill>
              </a:rPr>
              <a:t>© 2019 Fannie Mae. Trademarks of Fannie Mae.</a:t>
            </a:r>
          </a:p>
        </p:txBody>
      </p:sp>
      <p:sp>
        <p:nvSpPr>
          <p:cNvPr id="4" name="Title 3">
            <a:extLst>
              <a:ext uri="{FF2B5EF4-FFF2-40B4-BE49-F238E27FC236}">
                <a16:creationId xmlns:a16="http://schemas.microsoft.com/office/drawing/2014/main" id="{8529C054-E1A1-AC4A-AE6D-F63ECF94F771}"/>
              </a:ext>
            </a:extLst>
          </p:cNvPr>
          <p:cNvSpPr>
            <a:spLocks noGrp="1"/>
          </p:cNvSpPr>
          <p:nvPr>
            <p:ph type="title" hasCustomPrompt="1"/>
          </p:nvPr>
        </p:nvSpPr>
        <p:spPr>
          <a:xfrm>
            <a:off x="685800" y="4336401"/>
            <a:ext cx="7827167" cy="513987"/>
          </a:xfrm>
        </p:spPr>
        <p:txBody>
          <a:bodyPr vert="horz" wrap="square" lIns="0" tIns="0" rIns="0" bIns="0" rtlCol="0" anchor="t">
            <a:spAutoFit/>
          </a:bodyPr>
          <a:lstStyle>
            <a:lvl1pPr>
              <a:defRPr lang="en-US">
                <a:solidFill>
                  <a:schemeClr val="bg1"/>
                </a:solidFill>
              </a:defRPr>
            </a:lvl1pPr>
          </a:lstStyle>
          <a:p>
            <a:pPr marL="0" lvl="0"/>
            <a:r>
              <a:rPr lang="en-US"/>
              <a:t>Insert presentation title</a:t>
            </a:r>
          </a:p>
        </p:txBody>
      </p:sp>
      <p:sp>
        <p:nvSpPr>
          <p:cNvPr id="22" name="Freeform 21">
            <a:extLst>
              <a:ext uri="{FF2B5EF4-FFF2-40B4-BE49-F238E27FC236}">
                <a16:creationId xmlns:a16="http://schemas.microsoft.com/office/drawing/2014/main" id="{E75BDACD-8279-FD40-8D1E-D5C2541BC3F3}"/>
              </a:ext>
            </a:extLst>
          </p:cNvPr>
          <p:cNvSpPr/>
          <p:nvPr userDrawn="1"/>
        </p:nvSpPr>
        <p:spPr>
          <a:xfrm>
            <a:off x="-1" y="3647099"/>
            <a:ext cx="9144000" cy="541630"/>
          </a:xfrm>
          <a:custGeom>
            <a:avLst/>
            <a:gdLst>
              <a:gd name="connsiteX0" fmla="*/ 0 w 12192000"/>
              <a:gd name="connsiteY0" fmla="*/ 0 h 541630"/>
              <a:gd name="connsiteX1" fmla="*/ 12192000 w 12192000"/>
              <a:gd name="connsiteY1" fmla="*/ 0 h 541630"/>
              <a:gd name="connsiteX2" fmla="*/ 12192000 w 12192000"/>
              <a:gd name="connsiteY2" fmla="*/ 222335 h 541630"/>
              <a:gd name="connsiteX3" fmla="*/ 12192000 w 12192000"/>
              <a:gd name="connsiteY3" fmla="*/ 541630 h 541630"/>
              <a:gd name="connsiteX4" fmla="*/ 12185515 w 12192000"/>
              <a:gd name="connsiteY4" fmla="*/ 477297 h 541630"/>
              <a:gd name="connsiteX5" fmla="*/ 11872687 w 12192000"/>
              <a:gd name="connsiteY5" fmla="*/ 222335 h 541630"/>
              <a:gd name="connsiteX6" fmla="*/ 0 w 12192000"/>
              <a:gd name="connsiteY6" fmla="*/ 222335 h 541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41630">
                <a:moveTo>
                  <a:pt x="0" y="0"/>
                </a:moveTo>
                <a:lnTo>
                  <a:pt x="12192000" y="0"/>
                </a:lnTo>
                <a:lnTo>
                  <a:pt x="12192000" y="222335"/>
                </a:lnTo>
                <a:lnTo>
                  <a:pt x="12192000" y="541630"/>
                </a:lnTo>
                <a:lnTo>
                  <a:pt x="12185515" y="477297"/>
                </a:lnTo>
                <a:cubicBezTo>
                  <a:pt x="12155740" y="331790"/>
                  <a:pt x="12026996" y="222335"/>
                  <a:pt x="11872687" y="222335"/>
                </a:cubicBezTo>
                <a:lnTo>
                  <a:pt x="0" y="22233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8016406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ngle-Family">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A2131D12-E0EE-8B48-AF92-AABB095E5275}"/>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51120" y="2789746"/>
            <a:ext cx="3361847" cy="3083478"/>
          </a:xfrm>
          <a:prstGeom prst="rect">
            <a:avLst/>
          </a:prstGeom>
        </p:spPr>
      </p:pic>
      <p:pic>
        <p:nvPicPr>
          <p:cNvPr id="6" name="Graphic 5">
            <a:extLst>
              <a:ext uri="{FF2B5EF4-FFF2-40B4-BE49-F238E27FC236}">
                <a16:creationId xmlns:a16="http://schemas.microsoft.com/office/drawing/2014/main" id="{024CF25D-8EAC-F041-8743-7AC82C1B700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0" y="5418668"/>
            <a:ext cx="9144000" cy="1439333"/>
          </a:xfrm>
          <a:prstGeom prst="rect">
            <a:avLst/>
          </a:prstGeom>
        </p:spPr>
      </p:pic>
      <p:sp>
        <p:nvSpPr>
          <p:cNvPr id="8" name="Title 1">
            <a:extLst>
              <a:ext uri="{FF2B5EF4-FFF2-40B4-BE49-F238E27FC236}">
                <a16:creationId xmlns:a16="http://schemas.microsoft.com/office/drawing/2014/main" id="{B4D435EC-7F1B-1249-A137-E3B449794A53}"/>
              </a:ext>
            </a:extLst>
          </p:cNvPr>
          <p:cNvSpPr>
            <a:spLocks noGrp="1"/>
          </p:cNvSpPr>
          <p:nvPr>
            <p:ph type="title" hasCustomPrompt="1"/>
          </p:nvPr>
        </p:nvSpPr>
        <p:spPr>
          <a:xfrm>
            <a:off x="685800" y="1371600"/>
            <a:ext cx="5743575" cy="998735"/>
          </a:xfrm>
        </p:spPr>
        <p:txBody>
          <a:bodyPr/>
          <a:lstStyle>
            <a:lvl1pPr>
              <a:defRPr>
                <a:solidFill>
                  <a:schemeClr val="tx2"/>
                </a:solidFill>
              </a:defRPr>
            </a:lvl1pPr>
          </a:lstStyle>
          <a:p>
            <a:r>
              <a:rPr lang="en-US"/>
              <a:t>Insert presentation title</a:t>
            </a:r>
          </a:p>
        </p:txBody>
      </p:sp>
      <p:sp>
        <p:nvSpPr>
          <p:cNvPr id="9" name="Text Placeholder 5">
            <a:extLst>
              <a:ext uri="{FF2B5EF4-FFF2-40B4-BE49-F238E27FC236}">
                <a16:creationId xmlns:a16="http://schemas.microsoft.com/office/drawing/2014/main" id="{A4DBA69A-5736-7641-8A02-FF47D9B562EE}"/>
              </a:ext>
            </a:extLst>
          </p:cNvPr>
          <p:cNvSpPr>
            <a:spLocks noGrp="1"/>
          </p:cNvSpPr>
          <p:nvPr>
            <p:ph type="body" sz="quarter" idx="10" hasCustomPrompt="1"/>
          </p:nvPr>
        </p:nvSpPr>
        <p:spPr>
          <a:xfrm>
            <a:off x="685800" y="2630054"/>
            <a:ext cx="3714750" cy="332399"/>
          </a:xfrm>
        </p:spPr>
        <p:txBody>
          <a:bodyPr/>
          <a:lstStyle>
            <a:lvl1pPr>
              <a:defRPr sz="2400" b="0" i="0" baseline="0">
                <a:solidFill>
                  <a:srgbClr val="73A679"/>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D7F39393-AC16-5C47-A8E2-31683B5F0C4F}"/>
              </a:ext>
            </a:extLst>
          </p:cNvPr>
          <p:cNvSpPr>
            <a:spLocks noGrp="1"/>
          </p:cNvSpPr>
          <p:nvPr>
            <p:ph type="body" sz="quarter" idx="11" hasCustomPrompt="1"/>
          </p:nvPr>
        </p:nvSpPr>
        <p:spPr>
          <a:xfrm>
            <a:off x="685800" y="3725716"/>
            <a:ext cx="3714750" cy="249299"/>
          </a:xfrm>
        </p:spPr>
        <p:txBody>
          <a:bodyPr/>
          <a:lstStyle>
            <a:lvl1pPr>
              <a:defRPr sz="1800" b="0" i="0" baseline="0">
                <a:solidFill>
                  <a:schemeClr val="tx2"/>
                </a:solidFill>
                <a:latin typeface="+mn-lt"/>
              </a:defRPr>
            </a:lvl1pPr>
          </a:lstStyle>
          <a:p>
            <a:pPr lvl="0"/>
            <a:r>
              <a:rPr lang="en-US"/>
              <a:t>Insert speaker, date, location, etc. </a:t>
            </a:r>
          </a:p>
        </p:txBody>
      </p:sp>
      <p:sp>
        <p:nvSpPr>
          <p:cNvPr id="13" name="Rectangle 12">
            <a:extLst>
              <a:ext uri="{FF2B5EF4-FFF2-40B4-BE49-F238E27FC236}">
                <a16:creationId xmlns:a16="http://schemas.microsoft.com/office/drawing/2014/main" id="{8DF03850-9799-2147-B887-0E0637285E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dirty="0">
                <a:solidFill>
                  <a:schemeClr val="bg1"/>
                </a:solidFill>
              </a:rPr>
              <a:t>© 2018 Fannie Mae. Trademarks of Fannie Mae.</a:t>
            </a:r>
          </a:p>
        </p:txBody>
      </p:sp>
      <p:pic>
        <p:nvPicPr>
          <p:cNvPr id="14" name="Graphic 13">
            <a:extLst>
              <a:ext uri="{FF2B5EF4-FFF2-40B4-BE49-F238E27FC236}">
                <a16:creationId xmlns:a16="http://schemas.microsoft.com/office/drawing/2014/main" id="{34C423DC-0371-E64B-9594-7892FDC4BF0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940296" y="6089901"/>
            <a:ext cx="1572671" cy="621792"/>
          </a:xfrm>
          <a:prstGeom prst="rect">
            <a:avLst/>
          </a:prstGeom>
        </p:spPr>
      </p:pic>
    </p:spTree>
    <p:extLst>
      <p:ext uri="{BB962C8B-B14F-4D97-AF65-F5344CB8AC3E}">
        <p14:creationId xmlns:p14="http://schemas.microsoft.com/office/powerpoint/2010/main" val="1191511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Multifamily">
    <p:bg>
      <p:bgPr>
        <a:solidFill>
          <a:schemeClr val="bg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17D749CB-F7F8-1241-BF3E-6A4E6AC1299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66719" y="2926081"/>
            <a:ext cx="3346247" cy="2926273"/>
          </a:xfrm>
          <a:prstGeom prst="rect">
            <a:avLst/>
          </a:prstGeom>
        </p:spPr>
      </p:pic>
      <p:pic>
        <p:nvPicPr>
          <p:cNvPr id="6" name="Graphic 5">
            <a:extLst>
              <a:ext uri="{FF2B5EF4-FFF2-40B4-BE49-F238E27FC236}">
                <a16:creationId xmlns:a16="http://schemas.microsoft.com/office/drawing/2014/main" id="{024CF25D-8EAC-F041-8743-7AC82C1B700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0" y="5418668"/>
            <a:ext cx="9144000" cy="1439333"/>
          </a:xfrm>
          <a:prstGeom prst="rect">
            <a:avLst/>
          </a:prstGeom>
        </p:spPr>
      </p:pic>
      <p:sp>
        <p:nvSpPr>
          <p:cNvPr id="8" name="Title 1">
            <a:extLst>
              <a:ext uri="{FF2B5EF4-FFF2-40B4-BE49-F238E27FC236}">
                <a16:creationId xmlns:a16="http://schemas.microsoft.com/office/drawing/2014/main" id="{B4D435EC-7F1B-1249-A137-E3B449794A53}"/>
              </a:ext>
            </a:extLst>
          </p:cNvPr>
          <p:cNvSpPr>
            <a:spLocks noGrp="1"/>
          </p:cNvSpPr>
          <p:nvPr>
            <p:ph type="title" hasCustomPrompt="1"/>
          </p:nvPr>
        </p:nvSpPr>
        <p:spPr>
          <a:xfrm>
            <a:off x="685800" y="1371600"/>
            <a:ext cx="5743575" cy="998735"/>
          </a:xfrm>
        </p:spPr>
        <p:txBody>
          <a:bodyPr/>
          <a:lstStyle>
            <a:lvl1pPr>
              <a:defRPr>
                <a:solidFill>
                  <a:schemeClr val="tx2"/>
                </a:solidFill>
              </a:defRPr>
            </a:lvl1pPr>
          </a:lstStyle>
          <a:p>
            <a:r>
              <a:rPr lang="en-US"/>
              <a:t>Insert presentation title</a:t>
            </a:r>
          </a:p>
        </p:txBody>
      </p:sp>
      <p:sp>
        <p:nvSpPr>
          <p:cNvPr id="9" name="Text Placeholder 5">
            <a:extLst>
              <a:ext uri="{FF2B5EF4-FFF2-40B4-BE49-F238E27FC236}">
                <a16:creationId xmlns:a16="http://schemas.microsoft.com/office/drawing/2014/main" id="{A4DBA69A-5736-7641-8A02-FF47D9B562EE}"/>
              </a:ext>
            </a:extLst>
          </p:cNvPr>
          <p:cNvSpPr>
            <a:spLocks noGrp="1"/>
          </p:cNvSpPr>
          <p:nvPr>
            <p:ph type="body" sz="quarter" idx="10" hasCustomPrompt="1"/>
          </p:nvPr>
        </p:nvSpPr>
        <p:spPr>
          <a:xfrm>
            <a:off x="685800" y="2630054"/>
            <a:ext cx="3714750" cy="332399"/>
          </a:xfrm>
        </p:spPr>
        <p:txBody>
          <a:bodyPr/>
          <a:lstStyle>
            <a:lvl1pPr>
              <a:defRPr sz="2400" b="0" i="0" baseline="0">
                <a:solidFill>
                  <a:srgbClr val="73A679"/>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D7F39393-AC16-5C47-A8E2-31683B5F0C4F}"/>
              </a:ext>
            </a:extLst>
          </p:cNvPr>
          <p:cNvSpPr>
            <a:spLocks noGrp="1"/>
          </p:cNvSpPr>
          <p:nvPr>
            <p:ph type="body" sz="quarter" idx="11" hasCustomPrompt="1"/>
          </p:nvPr>
        </p:nvSpPr>
        <p:spPr>
          <a:xfrm>
            <a:off x="685800" y="3725716"/>
            <a:ext cx="3714750" cy="249299"/>
          </a:xfrm>
        </p:spPr>
        <p:txBody>
          <a:bodyPr/>
          <a:lstStyle>
            <a:lvl1pPr>
              <a:defRPr sz="1800" b="0" i="0" baseline="0">
                <a:solidFill>
                  <a:schemeClr val="tx2"/>
                </a:solidFill>
                <a:latin typeface="+mn-lt"/>
              </a:defRPr>
            </a:lvl1pPr>
          </a:lstStyle>
          <a:p>
            <a:pPr lvl="0"/>
            <a:r>
              <a:rPr lang="en-US"/>
              <a:t>Insert speaker, date, location, etc. </a:t>
            </a:r>
          </a:p>
        </p:txBody>
      </p:sp>
      <p:sp>
        <p:nvSpPr>
          <p:cNvPr id="13" name="Rectangle 12">
            <a:extLst>
              <a:ext uri="{FF2B5EF4-FFF2-40B4-BE49-F238E27FC236}">
                <a16:creationId xmlns:a16="http://schemas.microsoft.com/office/drawing/2014/main" id="{8DF03850-9799-2147-B887-0E0637285E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dirty="0">
                <a:solidFill>
                  <a:schemeClr val="bg1"/>
                </a:solidFill>
              </a:rPr>
              <a:t>© 2018 Fannie Mae. Trademarks of Fannie Mae.</a:t>
            </a:r>
          </a:p>
        </p:txBody>
      </p:sp>
      <p:pic>
        <p:nvPicPr>
          <p:cNvPr id="14" name="Graphic 13">
            <a:extLst>
              <a:ext uri="{FF2B5EF4-FFF2-40B4-BE49-F238E27FC236}">
                <a16:creationId xmlns:a16="http://schemas.microsoft.com/office/drawing/2014/main" id="{34C423DC-0371-E64B-9594-7892FDC4BF0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940296" y="6089901"/>
            <a:ext cx="1572671" cy="621792"/>
          </a:xfrm>
          <a:prstGeom prst="rect">
            <a:avLst/>
          </a:prstGeom>
        </p:spPr>
      </p:pic>
      <p:sp>
        <p:nvSpPr>
          <p:cNvPr id="4" name="Rectangle 3">
            <a:extLst>
              <a:ext uri="{FF2B5EF4-FFF2-40B4-BE49-F238E27FC236}">
                <a16:creationId xmlns:a16="http://schemas.microsoft.com/office/drawing/2014/main" id="{80B0D079-C4A1-DC4B-ACE2-EF2432AE5807}"/>
              </a:ext>
            </a:extLst>
          </p:cNvPr>
          <p:cNvSpPr/>
          <p:nvPr userDrawn="1"/>
        </p:nvSpPr>
        <p:spPr>
          <a:xfrm>
            <a:off x="6796381" y="5842194"/>
            <a:ext cx="1904342" cy="2909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29694310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idtown Center">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24CF25D-8EAC-F041-8743-7AC82C1B700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5418668"/>
            <a:ext cx="9144000" cy="1439333"/>
          </a:xfrm>
          <a:prstGeom prst="rect">
            <a:avLst/>
          </a:prstGeom>
        </p:spPr>
      </p:pic>
      <p:sp>
        <p:nvSpPr>
          <p:cNvPr id="8" name="Title 1">
            <a:extLst>
              <a:ext uri="{FF2B5EF4-FFF2-40B4-BE49-F238E27FC236}">
                <a16:creationId xmlns:a16="http://schemas.microsoft.com/office/drawing/2014/main" id="{B4D435EC-7F1B-1249-A137-E3B449794A53}"/>
              </a:ext>
            </a:extLst>
          </p:cNvPr>
          <p:cNvSpPr>
            <a:spLocks noGrp="1"/>
          </p:cNvSpPr>
          <p:nvPr>
            <p:ph type="title" hasCustomPrompt="1"/>
          </p:nvPr>
        </p:nvSpPr>
        <p:spPr>
          <a:xfrm>
            <a:off x="685800" y="1371600"/>
            <a:ext cx="5743575" cy="998735"/>
          </a:xfrm>
        </p:spPr>
        <p:txBody>
          <a:bodyPr/>
          <a:lstStyle>
            <a:lvl1pPr>
              <a:defRPr>
                <a:solidFill>
                  <a:schemeClr val="tx2"/>
                </a:solidFill>
              </a:defRPr>
            </a:lvl1pPr>
          </a:lstStyle>
          <a:p>
            <a:r>
              <a:rPr lang="en-US"/>
              <a:t>Insert presentation title</a:t>
            </a:r>
          </a:p>
        </p:txBody>
      </p:sp>
      <p:sp>
        <p:nvSpPr>
          <p:cNvPr id="9" name="Text Placeholder 5">
            <a:extLst>
              <a:ext uri="{FF2B5EF4-FFF2-40B4-BE49-F238E27FC236}">
                <a16:creationId xmlns:a16="http://schemas.microsoft.com/office/drawing/2014/main" id="{A4DBA69A-5736-7641-8A02-FF47D9B562EE}"/>
              </a:ext>
            </a:extLst>
          </p:cNvPr>
          <p:cNvSpPr>
            <a:spLocks noGrp="1"/>
          </p:cNvSpPr>
          <p:nvPr>
            <p:ph type="body" sz="quarter" idx="10" hasCustomPrompt="1"/>
          </p:nvPr>
        </p:nvSpPr>
        <p:spPr>
          <a:xfrm>
            <a:off x="685800" y="2630054"/>
            <a:ext cx="3714750" cy="332399"/>
          </a:xfrm>
        </p:spPr>
        <p:txBody>
          <a:bodyPr/>
          <a:lstStyle>
            <a:lvl1pPr>
              <a:defRPr sz="2400" b="0" i="0" baseline="0">
                <a:solidFill>
                  <a:srgbClr val="73A679"/>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D7F39393-AC16-5C47-A8E2-31683B5F0C4F}"/>
              </a:ext>
            </a:extLst>
          </p:cNvPr>
          <p:cNvSpPr>
            <a:spLocks noGrp="1"/>
          </p:cNvSpPr>
          <p:nvPr>
            <p:ph type="body" sz="quarter" idx="11" hasCustomPrompt="1"/>
          </p:nvPr>
        </p:nvSpPr>
        <p:spPr>
          <a:xfrm>
            <a:off x="685800" y="3725716"/>
            <a:ext cx="3714750" cy="249299"/>
          </a:xfrm>
        </p:spPr>
        <p:txBody>
          <a:bodyPr/>
          <a:lstStyle>
            <a:lvl1pPr>
              <a:defRPr sz="1800" b="0" i="0" baseline="0">
                <a:solidFill>
                  <a:schemeClr val="tx2"/>
                </a:solidFill>
                <a:latin typeface="+mn-lt"/>
              </a:defRPr>
            </a:lvl1pPr>
          </a:lstStyle>
          <a:p>
            <a:pPr lvl="0"/>
            <a:r>
              <a:rPr lang="en-US"/>
              <a:t>Insert speaker, date, location, etc. </a:t>
            </a:r>
          </a:p>
        </p:txBody>
      </p:sp>
      <p:sp>
        <p:nvSpPr>
          <p:cNvPr id="13" name="Rectangle 12">
            <a:extLst>
              <a:ext uri="{FF2B5EF4-FFF2-40B4-BE49-F238E27FC236}">
                <a16:creationId xmlns:a16="http://schemas.microsoft.com/office/drawing/2014/main" id="{8DF03850-9799-2147-B887-0E0637285E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dirty="0">
                <a:solidFill>
                  <a:schemeClr val="bg1"/>
                </a:solidFill>
              </a:rPr>
              <a:t>© 2018 Fannie Mae. Trademarks of Fannie Mae.</a:t>
            </a:r>
          </a:p>
        </p:txBody>
      </p:sp>
      <p:pic>
        <p:nvPicPr>
          <p:cNvPr id="14" name="Graphic 13">
            <a:extLst>
              <a:ext uri="{FF2B5EF4-FFF2-40B4-BE49-F238E27FC236}">
                <a16:creationId xmlns:a16="http://schemas.microsoft.com/office/drawing/2014/main" id="{34C423DC-0371-E64B-9594-7892FDC4BF0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940296" y="6089901"/>
            <a:ext cx="1572671" cy="621792"/>
          </a:xfrm>
          <a:prstGeom prst="rect">
            <a:avLst/>
          </a:prstGeom>
        </p:spPr>
      </p:pic>
      <p:sp>
        <p:nvSpPr>
          <p:cNvPr id="4" name="Rectangle 3">
            <a:extLst>
              <a:ext uri="{FF2B5EF4-FFF2-40B4-BE49-F238E27FC236}">
                <a16:creationId xmlns:a16="http://schemas.microsoft.com/office/drawing/2014/main" id="{80B0D079-C4A1-DC4B-ACE2-EF2432AE5807}"/>
              </a:ext>
            </a:extLst>
          </p:cNvPr>
          <p:cNvSpPr/>
          <p:nvPr userDrawn="1"/>
        </p:nvSpPr>
        <p:spPr>
          <a:xfrm>
            <a:off x="6796381" y="5842194"/>
            <a:ext cx="1904342" cy="2909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3" name="Graphic 2">
            <a:extLst>
              <a:ext uri="{FF2B5EF4-FFF2-40B4-BE49-F238E27FC236}">
                <a16:creationId xmlns:a16="http://schemas.microsoft.com/office/drawing/2014/main" id="{1DFB0C77-B71C-D343-9064-A1FA8C9EF301}"/>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98945" y="3725715"/>
            <a:ext cx="3714021" cy="2126638"/>
          </a:xfrm>
          <a:prstGeom prst="rect">
            <a:avLst/>
          </a:prstGeom>
        </p:spPr>
      </p:pic>
    </p:spTree>
    <p:extLst>
      <p:ext uri="{BB962C8B-B14F-4D97-AF65-F5344CB8AC3E}">
        <p14:creationId xmlns:p14="http://schemas.microsoft.com/office/powerpoint/2010/main" val="39894963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chnology">
    <p:bg>
      <p:bgPr>
        <a:solidFill>
          <a:schemeClr val="bg1"/>
        </a:soli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024CF25D-8EAC-F041-8743-7AC82C1B700D}"/>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0" y="5418668"/>
            <a:ext cx="9144000" cy="1439333"/>
          </a:xfrm>
          <a:prstGeom prst="rect">
            <a:avLst/>
          </a:prstGeom>
        </p:spPr>
      </p:pic>
      <p:sp>
        <p:nvSpPr>
          <p:cNvPr id="8" name="Title 1">
            <a:extLst>
              <a:ext uri="{FF2B5EF4-FFF2-40B4-BE49-F238E27FC236}">
                <a16:creationId xmlns:a16="http://schemas.microsoft.com/office/drawing/2014/main" id="{B4D435EC-7F1B-1249-A137-E3B449794A53}"/>
              </a:ext>
            </a:extLst>
          </p:cNvPr>
          <p:cNvSpPr>
            <a:spLocks noGrp="1"/>
          </p:cNvSpPr>
          <p:nvPr>
            <p:ph type="title" hasCustomPrompt="1"/>
          </p:nvPr>
        </p:nvSpPr>
        <p:spPr>
          <a:xfrm>
            <a:off x="685800" y="1371600"/>
            <a:ext cx="5743575" cy="998735"/>
          </a:xfrm>
        </p:spPr>
        <p:txBody>
          <a:bodyPr/>
          <a:lstStyle>
            <a:lvl1pPr>
              <a:defRPr>
                <a:solidFill>
                  <a:schemeClr val="tx2"/>
                </a:solidFill>
              </a:defRPr>
            </a:lvl1pPr>
          </a:lstStyle>
          <a:p>
            <a:r>
              <a:rPr lang="en-US"/>
              <a:t>Insert presentation title</a:t>
            </a:r>
          </a:p>
        </p:txBody>
      </p:sp>
      <p:sp>
        <p:nvSpPr>
          <p:cNvPr id="9" name="Text Placeholder 5">
            <a:extLst>
              <a:ext uri="{FF2B5EF4-FFF2-40B4-BE49-F238E27FC236}">
                <a16:creationId xmlns:a16="http://schemas.microsoft.com/office/drawing/2014/main" id="{A4DBA69A-5736-7641-8A02-FF47D9B562EE}"/>
              </a:ext>
            </a:extLst>
          </p:cNvPr>
          <p:cNvSpPr>
            <a:spLocks noGrp="1"/>
          </p:cNvSpPr>
          <p:nvPr>
            <p:ph type="body" sz="quarter" idx="10" hasCustomPrompt="1"/>
          </p:nvPr>
        </p:nvSpPr>
        <p:spPr>
          <a:xfrm>
            <a:off x="685800" y="2630054"/>
            <a:ext cx="3714750" cy="332399"/>
          </a:xfrm>
        </p:spPr>
        <p:txBody>
          <a:bodyPr/>
          <a:lstStyle>
            <a:lvl1pPr>
              <a:defRPr sz="2400" b="0" i="0" baseline="0">
                <a:solidFill>
                  <a:srgbClr val="73A679"/>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D7F39393-AC16-5C47-A8E2-31683B5F0C4F}"/>
              </a:ext>
            </a:extLst>
          </p:cNvPr>
          <p:cNvSpPr>
            <a:spLocks noGrp="1"/>
          </p:cNvSpPr>
          <p:nvPr>
            <p:ph type="body" sz="quarter" idx="11" hasCustomPrompt="1"/>
          </p:nvPr>
        </p:nvSpPr>
        <p:spPr>
          <a:xfrm>
            <a:off x="685800" y="3725716"/>
            <a:ext cx="3714750" cy="249299"/>
          </a:xfrm>
        </p:spPr>
        <p:txBody>
          <a:bodyPr/>
          <a:lstStyle>
            <a:lvl1pPr>
              <a:defRPr sz="1800" b="0" i="0" baseline="0">
                <a:solidFill>
                  <a:schemeClr val="tx2"/>
                </a:solidFill>
                <a:latin typeface="+mn-lt"/>
              </a:defRPr>
            </a:lvl1pPr>
          </a:lstStyle>
          <a:p>
            <a:pPr lvl="0"/>
            <a:r>
              <a:rPr lang="en-US"/>
              <a:t>Insert speaker, date, location, etc. </a:t>
            </a:r>
          </a:p>
        </p:txBody>
      </p:sp>
      <p:sp>
        <p:nvSpPr>
          <p:cNvPr id="13" name="Rectangle 12">
            <a:extLst>
              <a:ext uri="{FF2B5EF4-FFF2-40B4-BE49-F238E27FC236}">
                <a16:creationId xmlns:a16="http://schemas.microsoft.com/office/drawing/2014/main" id="{8DF03850-9799-2147-B887-0E0637285E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dirty="0">
                <a:solidFill>
                  <a:schemeClr val="bg1"/>
                </a:solidFill>
              </a:rPr>
              <a:t>© 2018 Fannie Mae. Trademarks of Fannie Mae.</a:t>
            </a:r>
          </a:p>
        </p:txBody>
      </p:sp>
      <p:pic>
        <p:nvPicPr>
          <p:cNvPr id="14" name="Graphic 13">
            <a:extLst>
              <a:ext uri="{FF2B5EF4-FFF2-40B4-BE49-F238E27FC236}">
                <a16:creationId xmlns:a16="http://schemas.microsoft.com/office/drawing/2014/main" id="{34C423DC-0371-E64B-9594-7892FDC4BF0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6940296" y="6089901"/>
            <a:ext cx="1572671" cy="621792"/>
          </a:xfrm>
          <a:prstGeom prst="rect">
            <a:avLst/>
          </a:prstGeom>
        </p:spPr>
      </p:pic>
      <p:sp>
        <p:nvSpPr>
          <p:cNvPr id="4" name="Rectangle 3">
            <a:extLst>
              <a:ext uri="{FF2B5EF4-FFF2-40B4-BE49-F238E27FC236}">
                <a16:creationId xmlns:a16="http://schemas.microsoft.com/office/drawing/2014/main" id="{80B0D079-C4A1-DC4B-ACE2-EF2432AE5807}"/>
              </a:ext>
            </a:extLst>
          </p:cNvPr>
          <p:cNvSpPr/>
          <p:nvPr userDrawn="1"/>
        </p:nvSpPr>
        <p:spPr>
          <a:xfrm>
            <a:off x="6796381" y="5842194"/>
            <a:ext cx="1904342" cy="2909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5" name="Graphic 4">
            <a:extLst>
              <a:ext uri="{FF2B5EF4-FFF2-40B4-BE49-F238E27FC236}">
                <a16:creationId xmlns:a16="http://schemas.microsoft.com/office/drawing/2014/main" id="{265A8036-2149-6246-96F3-DD5CAD417A33}"/>
              </a:ext>
            </a:extLst>
          </p:cNvPr>
          <p:cNvPicPr>
            <a:picLocks noChangeAspect="1"/>
          </p:cNvPicPr>
          <p:nvPr userDrawn="1"/>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37909" y="4068275"/>
            <a:ext cx="4175057" cy="1794239"/>
          </a:xfrm>
          <a:prstGeom prst="rect">
            <a:avLst/>
          </a:prstGeom>
        </p:spPr>
      </p:pic>
    </p:spTree>
    <p:extLst>
      <p:ext uri="{BB962C8B-B14F-4D97-AF65-F5344CB8AC3E}">
        <p14:creationId xmlns:p14="http://schemas.microsoft.com/office/powerpoint/2010/main" val="7756293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mployees">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2484FF5C-F62F-D846-A1F0-008D8FC064F4}"/>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427856" y="2909948"/>
            <a:ext cx="3065015" cy="3083819"/>
          </a:xfrm>
          <a:prstGeom prst="rect">
            <a:avLst/>
          </a:prstGeom>
        </p:spPr>
      </p:pic>
      <p:pic>
        <p:nvPicPr>
          <p:cNvPr id="6" name="Graphic 5">
            <a:extLst>
              <a:ext uri="{FF2B5EF4-FFF2-40B4-BE49-F238E27FC236}">
                <a16:creationId xmlns:a16="http://schemas.microsoft.com/office/drawing/2014/main" id="{024CF25D-8EAC-F041-8743-7AC82C1B700D}"/>
              </a:ext>
            </a:extLst>
          </p:cNvPr>
          <p:cNvPicPr>
            <a:picLocks noChangeAspect="1"/>
          </p:cNvPicPr>
          <p:nvPr userDrawn="1"/>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0" y="5418668"/>
            <a:ext cx="9144000" cy="1439333"/>
          </a:xfrm>
          <a:prstGeom prst="rect">
            <a:avLst/>
          </a:prstGeom>
        </p:spPr>
      </p:pic>
      <p:sp>
        <p:nvSpPr>
          <p:cNvPr id="8" name="Title 1">
            <a:extLst>
              <a:ext uri="{FF2B5EF4-FFF2-40B4-BE49-F238E27FC236}">
                <a16:creationId xmlns:a16="http://schemas.microsoft.com/office/drawing/2014/main" id="{B4D435EC-7F1B-1249-A137-E3B449794A53}"/>
              </a:ext>
            </a:extLst>
          </p:cNvPr>
          <p:cNvSpPr>
            <a:spLocks noGrp="1"/>
          </p:cNvSpPr>
          <p:nvPr>
            <p:ph type="title" hasCustomPrompt="1"/>
          </p:nvPr>
        </p:nvSpPr>
        <p:spPr>
          <a:xfrm>
            <a:off x="685800" y="1371600"/>
            <a:ext cx="5743575" cy="998735"/>
          </a:xfrm>
        </p:spPr>
        <p:txBody>
          <a:bodyPr/>
          <a:lstStyle>
            <a:lvl1pPr>
              <a:defRPr>
                <a:solidFill>
                  <a:schemeClr val="tx2"/>
                </a:solidFill>
              </a:defRPr>
            </a:lvl1pPr>
          </a:lstStyle>
          <a:p>
            <a:r>
              <a:rPr lang="en-US"/>
              <a:t>Insert presentation title</a:t>
            </a:r>
          </a:p>
        </p:txBody>
      </p:sp>
      <p:sp>
        <p:nvSpPr>
          <p:cNvPr id="9" name="Text Placeholder 5">
            <a:extLst>
              <a:ext uri="{FF2B5EF4-FFF2-40B4-BE49-F238E27FC236}">
                <a16:creationId xmlns:a16="http://schemas.microsoft.com/office/drawing/2014/main" id="{A4DBA69A-5736-7641-8A02-FF47D9B562EE}"/>
              </a:ext>
            </a:extLst>
          </p:cNvPr>
          <p:cNvSpPr>
            <a:spLocks noGrp="1"/>
          </p:cNvSpPr>
          <p:nvPr>
            <p:ph type="body" sz="quarter" idx="10" hasCustomPrompt="1"/>
          </p:nvPr>
        </p:nvSpPr>
        <p:spPr>
          <a:xfrm>
            <a:off x="685800" y="2633472"/>
            <a:ext cx="3714750" cy="332399"/>
          </a:xfrm>
        </p:spPr>
        <p:txBody>
          <a:bodyPr/>
          <a:lstStyle>
            <a:lvl1pPr>
              <a:defRPr sz="2400" b="0" i="0" baseline="0">
                <a:solidFill>
                  <a:srgbClr val="73A679"/>
                </a:solidFill>
                <a:latin typeface="+mn-lt"/>
              </a:defRPr>
            </a:lvl1pPr>
          </a:lstStyle>
          <a:p>
            <a:pPr lvl="0"/>
            <a:r>
              <a:rPr lang="en-US"/>
              <a:t>Insert subheader</a:t>
            </a:r>
          </a:p>
        </p:txBody>
      </p:sp>
      <p:sp>
        <p:nvSpPr>
          <p:cNvPr id="11" name="Text Placeholder 5">
            <a:extLst>
              <a:ext uri="{FF2B5EF4-FFF2-40B4-BE49-F238E27FC236}">
                <a16:creationId xmlns:a16="http://schemas.microsoft.com/office/drawing/2014/main" id="{D7F39393-AC16-5C47-A8E2-31683B5F0C4F}"/>
              </a:ext>
            </a:extLst>
          </p:cNvPr>
          <p:cNvSpPr>
            <a:spLocks noGrp="1"/>
          </p:cNvSpPr>
          <p:nvPr>
            <p:ph type="body" sz="quarter" idx="11" hasCustomPrompt="1"/>
          </p:nvPr>
        </p:nvSpPr>
        <p:spPr>
          <a:xfrm>
            <a:off x="685800" y="3725716"/>
            <a:ext cx="3714750" cy="249299"/>
          </a:xfrm>
        </p:spPr>
        <p:txBody>
          <a:bodyPr/>
          <a:lstStyle>
            <a:lvl1pPr>
              <a:defRPr sz="1800" b="0" i="0" baseline="0">
                <a:solidFill>
                  <a:schemeClr val="tx2"/>
                </a:solidFill>
                <a:latin typeface="+mn-lt"/>
              </a:defRPr>
            </a:lvl1pPr>
          </a:lstStyle>
          <a:p>
            <a:pPr lvl="0"/>
            <a:r>
              <a:rPr lang="en-US"/>
              <a:t>Insert speaker, date, location, etc. </a:t>
            </a:r>
          </a:p>
        </p:txBody>
      </p:sp>
      <p:sp>
        <p:nvSpPr>
          <p:cNvPr id="13" name="Rectangle 12">
            <a:extLst>
              <a:ext uri="{FF2B5EF4-FFF2-40B4-BE49-F238E27FC236}">
                <a16:creationId xmlns:a16="http://schemas.microsoft.com/office/drawing/2014/main" id="{8DF03850-9799-2147-B887-0E0637285E31}"/>
              </a:ext>
            </a:extLst>
          </p:cNvPr>
          <p:cNvSpPr/>
          <p:nvPr userDrawn="1"/>
        </p:nvSpPr>
        <p:spPr>
          <a:xfrm>
            <a:off x="684982" y="6343089"/>
            <a:ext cx="2029643" cy="115416"/>
          </a:xfrm>
          <a:prstGeom prst="rect">
            <a:avLst/>
          </a:prstGeom>
        </p:spPr>
        <p:txBody>
          <a:bodyPr vert="horz" lIns="0" tIns="0" rIns="0" bIns="0" rtlCol="0" anchor="ctr">
            <a:spAutoFit/>
          </a:bodyPr>
          <a:lstStyle/>
          <a:p>
            <a:pPr lvl="0"/>
            <a:r>
              <a:rPr lang="en-US" sz="750" dirty="0">
                <a:solidFill>
                  <a:schemeClr val="bg1"/>
                </a:solidFill>
              </a:rPr>
              <a:t>© 2018 Fannie Mae. Trademarks of Fannie Mae.</a:t>
            </a:r>
          </a:p>
        </p:txBody>
      </p:sp>
      <p:pic>
        <p:nvPicPr>
          <p:cNvPr id="14" name="Graphic 13">
            <a:extLst>
              <a:ext uri="{FF2B5EF4-FFF2-40B4-BE49-F238E27FC236}">
                <a16:creationId xmlns:a16="http://schemas.microsoft.com/office/drawing/2014/main" id="{34C423DC-0371-E64B-9594-7892FDC4BF0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940296" y="6089901"/>
            <a:ext cx="1572671" cy="621792"/>
          </a:xfrm>
          <a:prstGeom prst="rect">
            <a:avLst/>
          </a:prstGeom>
        </p:spPr>
      </p:pic>
      <p:sp>
        <p:nvSpPr>
          <p:cNvPr id="4" name="Rectangle 3">
            <a:extLst>
              <a:ext uri="{FF2B5EF4-FFF2-40B4-BE49-F238E27FC236}">
                <a16:creationId xmlns:a16="http://schemas.microsoft.com/office/drawing/2014/main" id="{80B0D079-C4A1-DC4B-ACE2-EF2432AE5807}"/>
              </a:ext>
            </a:extLst>
          </p:cNvPr>
          <p:cNvSpPr/>
          <p:nvPr userDrawn="1"/>
        </p:nvSpPr>
        <p:spPr>
          <a:xfrm>
            <a:off x="6796381" y="5842194"/>
            <a:ext cx="1904342" cy="29094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17999481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eft image cover">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2"/>
          </p:nvPr>
        </p:nvSpPr>
        <p:spPr>
          <a:xfrm>
            <a:off x="0" y="0"/>
            <a:ext cx="4102608" cy="6858000"/>
          </a:xfrm>
          <a:solidFill>
            <a:schemeClr val="bg1">
              <a:lumMod val="85000"/>
            </a:schemeClr>
          </a:solidFill>
        </p:spPr>
        <p:txBody>
          <a:bodyPr/>
          <a:lstStyle/>
          <a:p>
            <a:endParaRPr lang="en-US" dirty="0"/>
          </a:p>
        </p:txBody>
      </p:sp>
      <p:sp>
        <p:nvSpPr>
          <p:cNvPr id="11" name="Title 1"/>
          <p:cNvSpPr>
            <a:spLocks noGrp="1"/>
          </p:cNvSpPr>
          <p:nvPr>
            <p:ph type="title" hasCustomPrompt="1"/>
          </p:nvPr>
        </p:nvSpPr>
        <p:spPr>
          <a:xfrm>
            <a:off x="4572000" y="1024128"/>
            <a:ext cx="3874007" cy="1181862"/>
          </a:xfrm>
        </p:spPr>
        <p:txBody>
          <a:bodyPr wrap="square">
            <a:spAutoFit/>
          </a:bodyPr>
          <a:lstStyle>
            <a:lvl1pPr>
              <a:defRPr sz="4800" spc="-150" baseline="0">
                <a:solidFill>
                  <a:schemeClr val="tx2"/>
                </a:solidFill>
              </a:defRPr>
            </a:lvl1pPr>
          </a:lstStyle>
          <a:p>
            <a:r>
              <a:rPr lang="en-US" dirty="0"/>
              <a:t>Click to enter title</a:t>
            </a:r>
          </a:p>
        </p:txBody>
      </p:sp>
      <p:sp>
        <p:nvSpPr>
          <p:cNvPr id="3" name="Text Placeholder 2"/>
          <p:cNvSpPr>
            <a:spLocks noGrp="1"/>
          </p:cNvSpPr>
          <p:nvPr>
            <p:ph type="body" sz="quarter" idx="10" hasCustomPrompt="1"/>
          </p:nvPr>
        </p:nvSpPr>
        <p:spPr>
          <a:xfrm>
            <a:off x="4571999" y="2874722"/>
            <a:ext cx="3874008" cy="332399"/>
          </a:xfrm>
        </p:spPr>
        <p:txBody>
          <a:bodyPr wrap="square">
            <a:spAutoFit/>
          </a:bodyPr>
          <a:lstStyle>
            <a:lvl1pPr>
              <a:defRPr sz="2400" b="1" spc="0" baseline="0">
                <a:solidFill>
                  <a:schemeClr val="accent1"/>
                </a:solidFill>
              </a:defRPr>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a:t>
            </a:r>
            <a:r>
              <a:rPr lang="en-US" dirty="0" err="1"/>
              <a:t>subheader</a:t>
            </a:r>
            <a:endParaRPr lang="en-US" dirty="0"/>
          </a:p>
        </p:txBody>
      </p:sp>
      <p:sp>
        <p:nvSpPr>
          <p:cNvPr id="4" name="TextBox 3"/>
          <p:cNvSpPr txBox="1"/>
          <p:nvPr userDrawn="1"/>
        </p:nvSpPr>
        <p:spPr>
          <a:xfrm>
            <a:off x="-572756" y="864158"/>
            <a:ext cx="184731" cy="369332"/>
          </a:xfrm>
          <a:prstGeom prst="rect">
            <a:avLst/>
          </a:prstGeom>
          <a:noFill/>
        </p:spPr>
        <p:txBody>
          <a:bodyPr wrap="none" rtlCol="0">
            <a:spAutoFit/>
          </a:bodyPr>
          <a:lstStyle/>
          <a:p>
            <a:endParaRPr lang="en-US" dirty="0"/>
          </a:p>
        </p:txBody>
      </p:sp>
      <p:sp>
        <p:nvSpPr>
          <p:cNvPr id="8" name="Text Placeholder 2"/>
          <p:cNvSpPr>
            <a:spLocks noGrp="1"/>
          </p:cNvSpPr>
          <p:nvPr>
            <p:ph type="body" sz="quarter" idx="11" hasCustomPrompt="1"/>
          </p:nvPr>
        </p:nvSpPr>
        <p:spPr>
          <a:xfrm>
            <a:off x="4571999" y="3789122"/>
            <a:ext cx="3874008" cy="193899"/>
          </a:xfrm>
        </p:spPr>
        <p:txBody>
          <a:bodyPr wrap="square">
            <a:spAutoFit/>
          </a:bodyPr>
          <a:lstStyle>
            <a:lvl1pPr>
              <a:defRPr sz="1400" b="0" spc="0" baseline="0"/>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byline</a:t>
            </a:r>
          </a:p>
        </p:txBody>
      </p:sp>
      <p:sp>
        <p:nvSpPr>
          <p:cNvPr id="9" name="object 5">
            <a:extLst>
              <a:ext uri="{FF2B5EF4-FFF2-40B4-BE49-F238E27FC236}">
                <a16:creationId xmlns:a16="http://schemas.microsoft.com/office/drawing/2014/main" id="{45034C03-D488-D24B-9445-DAC41928D91B}"/>
              </a:ext>
            </a:extLst>
          </p:cNvPr>
          <p:cNvSpPr/>
          <p:nvPr userDrawn="1"/>
        </p:nvSpPr>
        <p:spPr>
          <a:xfrm>
            <a:off x="4572000" y="685800"/>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dirty="0"/>
          </a:p>
        </p:txBody>
      </p:sp>
      <p:pic>
        <p:nvPicPr>
          <p:cNvPr id="13" name="Graphic 12">
            <a:extLst>
              <a:ext uri="{FF2B5EF4-FFF2-40B4-BE49-F238E27FC236}">
                <a16:creationId xmlns:a16="http://schemas.microsoft.com/office/drawing/2014/main" id="{673D7A57-16F7-1C4E-B62D-2E8537A6FED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90633" y="6273877"/>
            <a:ext cx="1480161" cy="438912"/>
          </a:xfrm>
          <a:prstGeom prst="rect">
            <a:avLst/>
          </a:prstGeom>
        </p:spPr>
      </p:pic>
      <p:sp>
        <p:nvSpPr>
          <p:cNvPr id="14" name="TextBox 13">
            <a:extLst>
              <a:ext uri="{FF2B5EF4-FFF2-40B4-BE49-F238E27FC236}">
                <a16:creationId xmlns:a16="http://schemas.microsoft.com/office/drawing/2014/main" id="{633CC113-F95A-E245-B57F-54ADBE696640}"/>
              </a:ext>
            </a:extLst>
          </p:cNvPr>
          <p:cNvSpPr txBox="1"/>
          <p:nvPr userDrawn="1"/>
        </p:nvSpPr>
        <p:spPr>
          <a:xfrm>
            <a:off x="7643875" y="6273877"/>
            <a:ext cx="814325" cy="123111"/>
          </a:xfrm>
          <a:prstGeom prst="rect">
            <a:avLst/>
          </a:prstGeom>
        </p:spPr>
        <p:txBody>
          <a:bodyPr vert="horz" lIns="0" tIns="0" rIns="0" bIns="0" rtlCol="0" anchor="ctr"/>
          <a:lstStyle>
            <a:defPPr>
              <a:defRPr lang="en-US"/>
            </a:defPPr>
            <a:lvl1pPr>
              <a:defRPr lang="en-US" sz="800">
                <a:solidFill>
                  <a:schemeClr val="bg1"/>
                </a:solidFill>
              </a:defRPr>
            </a:lvl1pPr>
          </a:lstStyle>
          <a:p>
            <a:pPr lvl="0" algn="r"/>
            <a:r>
              <a:rPr lang="en-US" dirty="0">
                <a:solidFill>
                  <a:schemeClr val="tx2"/>
                </a:solidFill>
              </a:rPr>
              <a:t>© 2021 Fannie Mae</a:t>
            </a:r>
          </a:p>
        </p:txBody>
      </p:sp>
      <p:sp>
        <p:nvSpPr>
          <p:cNvPr id="15" name="Footer Placeholder 1">
            <a:extLst>
              <a:ext uri="{FF2B5EF4-FFF2-40B4-BE49-F238E27FC236}">
                <a16:creationId xmlns:a16="http://schemas.microsoft.com/office/drawing/2014/main" id="{9027DF04-E0AE-DF4F-9F44-5D3B1932B2CF}"/>
              </a:ext>
            </a:extLst>
          </p:cNvPr>
          <p:cNvSpPr>
            <a:spLocks noGrp="1"/>
          </p:cNvSpPr>
          <p:nvPr>
            <p:ph type="ftr" sz="quarter" idx="13"/>
          </p:nvPr>
        </p:nvSpPr>
        <p:spPr>
          <a:xfrm>
            <a:off x="5970794" y="6434471"/>
            <a:ext cx="2487406" cy="246221"/>
          </a:xfrm>
        </p:spPr>
        <p:txBody>
          <a:bodyPr vert="horz" wrap="square" lIns="0" tIns="0" rIns="0" bIns="0" rtlCol="0" anchor="ctr">
            <a:spAutoFit/>
          </a:bodyPr>
          <a:lstStyle>
            <a:lvl1pPr marL="0" marR="0" indent="0" algn="r" defTabSz="914400" rtl="0" eaLnBrk="1" fontAlgn="auto" latinLnBrk="0" hangingPunct="1">
              <a:lnSpc>
                <a:spcPct val="100000"/>
              </a:lnSpc>
              <a:spcBef>
                <a:spcPts val="0"/>
              </a:spcBef>
              <a:spcAft>
                <a:spcPts val="0"/>
              </a:spcAft>
              <a:buClrTx/>
              <a:buSzTx/>
              <a:buFontTx/>
              <a:buNone/>
              <a:tabLst/>
              <a:defRPr lang="en-US" sz="800" smtClean="0">
                <a:solidFill>
                  <a:schemeClr val="tx2"/>
                </a:solidFill>
              </a:defRPr>
            </a:lvl1pPr>
          </a:lstStyle>
          <a:p>
            <a:r>
              <a:rPr lang="en-US" dirty="0"/>
              <a:t>Confidential Commercial Information — Confidential Treatment and FOIA Exemption Requested</a:t>
            </a:r>
          </a:p>
        </p:txBody>
      </p:sp>
    </p:spTree>
    <p:extLst>
      <p:ext uri="{BB962C8B-B14F-4D97-AF65-F5344CB8AC3E}">
        <p14:creationId xmlns:p14="http://schemas.microsoft.com/office/powerpoint/2010/main" val="29780946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bg2"/>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E25FAA4D-1CB5-4042-9DE3-C18280AF8BEA}"/>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062288" y="2832100"/>
            <a:ext cx="3019425" cy="1193800"/>
          </a:xfrm>
          <a:prstGeom prst="rect">
            <a:avLst/>
          </a:prstGeom>
        </p:spPr>
      </p:pic>
    </p:spTree>
    <p:extLst>
      <p:ext uri="{BB962C8B-B14F-4D97-AF65-F5344CB8AC3E}">
        <p14:creationId xmlns:p14="http://schemas.microsoft.com/office/powerpoint/2010/main" val="11938581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Left image cover">
    <p:bg>
      <p:bgPr>
        <a:solidFill>
          <a:schemeClr val="bg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2"/>
          </p:nvPr>
        </p:nvSpPr>
        <p:spPr>
          <a:xfrm>
            <a:off x="0" y="0"/>
            <a:ext cx="4102608" cy="6858000"/>
          </a:xfrm>
          <a:solidFill>
            <a:schemeClr val="bg1">
              <a:lumMod val="85000"/>
            </a:schemeClr>
          </a:solidFill>
        </p:spPr>
        <p:txBody>
          <a:bodyPr/>
          <a:lstStyle/>
          <a:p>
            <a:endParaRPr lang="en-US" dirty="0"/>
          </a:p>
        </p:txBody>
      </p:sp>
      <p:sp>
        <p:nvSpPr>
          <p:cNvPr id="11" name="Title 1"/>
          <p:cNvSpPr>
            <a:spLocks noGrp="1"/>
          </p:cNvSpPr>
          <p:nvPr>
            <p:ph type="title" hasCustomPrompt="1"/>
          </p:nvPr>
        </p:nvSpPr>
        <p:spPr>
          <a:xfrm>
            <a:off x="4572000" y="1024128"/>
            <a:ext cx="3874007" cy="1181862"/>
          </a:xfrm>
        </p:spPr>
        <p:txBody>
          <a:bodyPr wrap="square">
            <a:spAutoFit/>
          </a:bodyPr>
          <a:lstStyle>
            <a:lvl1pPr>
              <a:defRPr sz="4800" spc="-150" baseline="0">
                <a:solidFill>
                  <a:schemeClr val="tx2"/>
                </a:solidFill>
              </a:defRPr>
            </a:lvl1pPr>
          </a:lstStyle>
          <a:p>
            <a:r>
              <a:rPr lang="en-US" dirty="0"/>
              <a:t>Click to enter title</a:t>
            </a:r>
          </a:p>
        </p:txBody>
      </p:sp>
      <p:sp>
        <p:nvSpPr>
          <p:cNvPr id="3" name="Text Placeholder 2"/>
          <p:cNvSpPr>
            <a:spLocks noGrp="1"/>
          </p:cNvSpPr>
          <p:nvPr>
            <p:ph type="body" sz="quarter" idx="10" hasCustomPrompt="1"/>
          </p:nvPr>
        </p:nvSpPr>
        <p:spPr>
          <a:xfrm>
            <a:off x="4571999" y="2874722"/>
            <a:ext cx="3874008" cy="332399"/>
          </a:xfrm>
        </p:spPr>
        <p:txBody>
          <a:bodyPr wrap="square">
            <a:spAutoFit/>
          </a:bodyPr>
          <a:lstStyle>
            <a:lvl1pPr>
              <a:defRPr sz="2400" b="1" spc="0" baseline="0">
                <a:solidFill>
                  <a:schemeClr val="accent1"/>
                </a:solidFill>
              </a:defRPr>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a:t>
            </a:r>
            <a:r>
              <a:rPr lang="en-US" dirty="0" err="1"/>
              <a:t>subheader</a:t>
            </a:r>
            <a:endParaRPr lang="en-US" dirty="0"/>
          </a:p>
        </p:txBody>
      </p:sp>
      <p:sp>
        <p:nvSpPr>
          <p:cNvPr id="4" name="TextBox 3"/>
          <p:cNvSpPr txBox="1"/>
          <p:nvPr userDrawn="1"/>
        </p:nvSpPr>
        <p:spPr>
          <a:xfrm>
            <a:off x="-572756" y="864158"/>
            <a:ext cx="184731" cy="369332"/>
          </a:xfrm>
          <a:prstGeom prst="rect">
            <a:avLst/>
          </a:prstGeom>
          <a:noFill/>
        </p:spPr>
        <p:txBody>
          <a:bodyPr wrap="none" rtlCol="0">
            <a:spAutoFit/>
          </a:bodyPr>
          <a:lstStyle/>
          <a:p>
            <a:endParaRPr lang="en-US" dirty="0"/>
          </a:p>
        </p:txBody>
      </p:sp>
      <p:sp>
        <p:nvSpPr>
          <p:cNvPr id="8" name="Text Placeholder 2"/>
          <p:cNvSpPr>
            <a:spLocks noGrp="1"/>
          </p:cNvSpPr>
          <p:nvPr>
            <p:ph type="body" sz="quarter" idx="11" hasCustomPrompt="1"/>
          </p:nvPr>
        </p:nvSpPr>
        <p:spPr>
          <a:xfrm>
            <a:off x="4571999" y="3789122"/>
            <a:ext cx="3874008" cy="193899"/>
          </a:xfrm>
        </p:spPr>
        <p:txBody>
          <a:bodyPr wrap="square">
            <a:spAutoFit/>
          </a:bodyPr>
          <a:lstStyle>
            <a:lvl1pPr>
              <a:defRPr sz="1400" b="0" spc="0" baseline="0"/>
            </a:lvl1pPr>
            <a:lvl2pPr marL="0" indent="0">
              <a:spcBef>
                <a:spcPts val="0"/>
              </a:spcBef>
              <a:spcAft>
                <a:spcPts val="600"/>
              </a:spcAft>
              <a:buNone/>
              <a:defRPr sz="1400" spc="-20" baseline="0"/>
            </a:lvl2pPr>
            <a:lvl3pPr marL="9525" indent="0">
              <a:buNone/>
              <a:tabLst/>
              <a:defRPr/>
            </a:lvl3pPr>
            <a:lvl4pPr marL="9525" indent="0">
              <a:buNone/>
              <a:tabLst/>
              <a:defRPr/>
            </a:lvl4pPr>
            <a:lvl5pPr marL="9525" indent="0">
              <a:buNone/>
              <a:tabLst/>
              <a:defRPr/>
            </a:lvl5pPr>
          </a:lstStyle>
          <a:p>
            <a:pPr lvl="0"/>
            <a:r>
              <a:rPr lang="en-US" dirty="0"/>
              <a:t>Click to enter byline</a:t>
            </a:r>
          </a:p>
        </p:txBody>
      </p:sp>
      <p:sp>
        <p:nvSpPr>
          <p:cNvPr id="9" name="object 5">
            <a:extLst>
              <a:ext uri="{FF2B5EF4-FFF2-40B4-BE49-F238E27FC236}">
                <a16:creationId xmlns:a16="http://schemas.microsoft.com/office/drawing/2014/main" id="{45034C03-D488-D24B-9445-DAC41928D91B}"/>
              </a:ext>
            </a:extLst>
          </p:cNvPr>
          <p:cNvSpPr/>
          <p:nvPr userDrawn="1"/>
        </p:nvSpPr>
        <p:spPr>
          <a:xfrm>
            <a:off x="4572000" y="685800"/>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dirty="0"/>
          </a:p>
        </p:txBody>
      </p:sp>
      <p:pic>
        <p:nvPicPr>
          <p:cNvPr id="13" name="Graphic 12">
            <a:extLst>
              <a:ext uri="{FF2B5EF4-FFF2-40B4-BE49-F238E27FC236}">
                <a16:creationId xmlns:a16="http://schemas.microsoft.com/office/drawing/2014/main" id="{673D7A57-16F7-1C4E-B62D-2E8537A6FEDE}"/>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90633" y="6273877"/>
            <a:ext cx="1480161" cy="438912"/>
          </a:xfrm>
          <a:prstGeom prst="rect">
            <a:avLst/>
          </a:prstGeom>
        </p:spPr>
      </p:pic>
      <p:sp>
        <p:nvSpPr>
          <p:cNvPr id="14" name="TextBox 13">
            <a:extLst>
              <a:ext uri="{FF2B5EF4-FFF2-40B4-BE49-F238E27FC236}">
                <a16:creationId xmlns:a16="http://schemas.microsoft.com/office/drawing/2014/main" id="{633CC113-F95A-E245-B57F-54ADBE696640}"/>
              </a:ext>
            </a:extLst>
          </p:cNvPr>
          <p:cNvSpPr txBox="1"/>
          <p:nvPr userDrawn="1"/>
        </p:nvSpPr>
        <p:spPr>
          <a:xfrm>
            <a:off x="7643875" y="6273877"/>
            <a:ext cx="814325" cy="123111"/>
          </a:xfrm>
          <a:prstGeom prst="rect">
            <a:avLst/>
          </a:prstGeom>
        </p:spPr>
        <p:txBody>
          <a:bodyPr vert="horz" lIns="0" tIns="0" rIns="0" bIns="0" rtlCol="0" anchor="ctr"/>
          <a:lstStyle>
            <a:defPPr>
              <a:defRPr lang="en-US"/>
            </a:defPPr>
            <a:lvl1pPr>
              <a:defRPr lang="en-US" sz="800">
                <a:solidFill>
                  <a:schemeClr val="bg1"/>
                </a:solidFill>
              </a:defRPr>
            </a:lvl1pPr>
          </a:lstStyle>
          <a:p>
            <a:pPr lvl="0" algn="r"/>
            <a:r>
              <a:rPr lang="en-US" dirty="0">
                <a:solidFill>
                  <a:schemeClr val="tx2"/>
                </a:solidFill>
              </a:rPr>
              <a:t>© 2021 Fannie Mae</a:t>
            </a:r>
          </a:p>
        </p:txBody>
      </p:sp>
      <p:sp>
        <p:nvSpPr>
          <p:cNvPr id="15" name="Footer Placeholder 1">
            <a:extLst>
              <a:ext uri="{FF2B5EF4-FFF2-40B4-BE49-F238E27FC236}">
                <a16:creationId xmlns:a16="http://schemas.microsoft.com/office/drawing/2014/main" id="{9027DF04-E0AE-DF4F-9F44-5D3B1932B2CF}"/>
              </a:ext>
            </a:extLst>
          </p:cNvPr>
          <p:cNvSpPr>
            <a:spLocks noGrp="1"/>
          </p:cNvSpPr>
          <p:nvPr>
            <p:ph type="ftr" sz="quarter" idx="13"/>
          </p:nvPr>
        </p:nvSpPr>
        <p:spPr>
          <a:xfrm>
            <a:off x="5970794" y="6434471"/>
            <a:ext cx="2487406" cy="246221"/>
          </a:xfrm>
        </p:spPr>
        <p:txBody>
          <a:bodyPr vert="horz" wrap="square" lIns="0" tIns="0" rIns="0" bIns="0" rtlCol="0" anchor="ctr">
            <a:spAutoFit/>
          </a:bodyPr>
          <a:lstStyle>
            <a:lvl1pPr marL="0" marR="0" indent="0" algn="r" defTabSz="914400" rtl="0" eaLnBrk="1" fontAlgn="auto" latinLnBrk="0" hangingPunct="1">
              <a:lnSpc>
                <a:spcPct val="100000"/>
              </a:lnSpc>
              <a:spcBef>
                <a:spcPts val="0"/>
              </a:spcBef>
              <a:spcAft>
                <a:spcPts val="0"/>
              </a:spcAft>
              <a:buClrTx/>
              <a:buSzTx/>
              <a:buFontTx/>
              <a:buNone/>
              <a:tabLst/>
              <a:defRPr lang="en-US" sz="800" smtClean="0">
                <a:solidFill>
                  <a:schemeClr val="tx2"/>
                </a:solidFill>
              </a:defRPr>
            </a:lvl1pPr>
          </a:lstStyle>
          <a:p>
            <a:r>
              <a:rPr lang="en-US" dirty="0"/>
              <a:t>Review READ ME intro slides to update your confidentiality footer</a:t>
            </a:r>
          </a:p>
        </p:txBody>
      </p:sp>
    </p:spTree>
    <p:extLst>
      <p:ext uri="{BB962C8B-B14F-4D97-AF65-F5344CB8AC3E}">
        <p14:creationId xmlns:p14="http://schemas.microsoft.com/office/powerpoint/2010/main" val="28707145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mple divider">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8C0B7250-55F3-0844-A027-B73CF543DC6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5130800"/>
            <a:ext cx="9144000" cy="1727200"/>
          </a:xfrm>
          <a:prstGeom prst="rect">
            <a:avLst/>
          </a:prstGeom>
        </p:spPr>
      </p:pic>
      <p:sp>
        <p:nvSpPr>
          <p:cNvPr id="2" name="Title 1"/>
          <p:cNvSpPr>
            <a:spLocks noGrp="1"/>
          </p:cNvSpPr>
          <p:nvPr>
            <p:ph type="title" hasCustomPrompt="1"/>
          </p:nvPr>
        </p:nvSpPr>
        <p:spPr>
          <a:xfrm>
            <a:off x="685801" y="2374453"/>
            <a:ext cx="7772400" cy="775597"/>
          </a:xfrm>
        </p:spPr>
        <p:txBody>
          <a:bodyPr wrap="square" tIns="91440" bIns="91440" anchor="ctr">
            <a:spAutoFit/>
          </a:bodyPr>
          <a:lstStyle>
            <a:lvl1pPr algn="l">
              <a:defRPr sz="4800"/>
            </a:lvl1pPr>
          </a:lstStyle>
          <a:p>
            <a:r>
              <a:rPr lang="en-US" dirty="0"/>
              <a:t>Click to insert section title</a:t>
            </a:r>
          </a:p>
        </p:txBody>
      </p:sp>
      <p:sp>
        <p:nvSpPr>
          <p:cNvPr id="3" name="Footer Placeholder 2"/>
          <p:cNvSpPr>
            <a:spLocks noGrp="1"/>
          </p:cNvSpPr>
          <p:nvPr>
            <p:ph type="ftr" sz="quarter" idx="10"/>
          </p:nvPr>
        </p:nvSpPr>
        <p:spPr/>
        <p:txBody>
          <a:bodyPr/>
          <a:lstStyle>
            <a:lvl1pPr>
              <a:defRPr>
                <a:solidFill>
                  <a:schemeClr val="bg1"/>
                </a:solidFill>
              </a:defRPr>
            </a:lvl1p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fld id="{5F113B49-C4D2-453F-848F-33FCBA6F44B6}" type="slidenum">
              <a:rPr lang="en-US" smtClean="0"/>
              <a:pPr/>
              <a:t>‹#›</a:t>
            </a:fld>
            <a:endParaRPr lang="en-US" dirty="0"/>
          </a:p>
        </p:txBody>
      </p:sp>
      <p:sp>
        <p:nvSpPr>
          <p:cNvPr id="8" name="Content Placeholder 7"/>
          <p:cNvSpPr>
            <a:spLocks noGrp="1"/>
          </p:cNvSpPr>
          <p:nvPr>
            <p:ph sz="quarter" idx="12" hasCustomPrompt="1"/>
          </p:nvPr>
        </p:nvSpPr>
        <p:spPr>
          <a:xfrm>
            <a:off x="685800" y="3076183"/>
            <a:ext cx="5486400" cy="1225977"/>
          </a:xfrm>
        </p:spPr>
        <p:txBody>
          <a:bodyPr/>
          <a:lstStyle>
            <a:lvl1pPr>
              <a:defRPr sz="1400" spc="0" baseline="0">
                <a:solidFill>
                  <a:schemeClr val="tx1"/>
                </a:solidFill>
              </a:defRPr>
            </a:lvl1pPr>
            <a:lvl2pPr>
              <a:defRPr sz="1400" spc="0">
                <a:solidFill>
                  <a:schemeClr val="tx1"/>
                </a:solidFill>
              </a:defRPr>
            </a:lvl2pPr>
            <a:lvl3pPr>
              <a:defRPr sz="1400" spc="0">
                <a:solidFill>
                  <a:schemeClr val="tx1"/>
                </a:solidFill>
              </a:defRPr>
            </a:lvl3pPr>
            <a:lvl4pPr>
              <a:defRPr sz="1400" spc="0">
                <a:solidFill>
                  <a:schemeClr val="tx1"/>
                </a:solidFill>
              </a:defRPr>
            </a:lvl4pPr>
            <a:lvl5pPr>
              <a:defRPr sz="1400" spc="0">
                <a:solidFill>
                  <a:schemeClr val="tx1"/>
                </a:solidFill>
              </a:defRPr>
            </a:lvl5pPr>
          </a:lstStyle>
          <a:p>
            <a:pPr lvl="0"/>
            <a:r>
              <a:rPr lang="en-US" dirty="0"/>
              <a:t>Click to insert ca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object 5">
            <a:extLst>
              <a:ext uri="{FF2B5EF4-FFF2-40B4-BE49-F238E27FC236}">
                <a16:creationId xmlns:a16="http://schemas.microsoft.com/office/drawing/2014/main" id="{0FF541AF-7DC8-9748-BC1A-6C2ACC7197A4}"/>
              </a:ext>
            </a:extLst>
          </p:cNvPr>
          <p:cNvSpPr/>
          <p:nvPr userDrawn="1"/>
        </p:nvSpPr>
        <p:spPr>
          <a:xfrm>
            <a:off x="685800" y="2048256"/>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dirty="0"/>
          </a:p>
        </p:txBody>
      </p:sp>
    </p:spTree>
    <p:extLst>
      <p:ext uri="{BB962C8B-B14F-4D97-AF65-F5344CB8AC3E}">
        <p14:creationId xmlns:p14="http://schemas.microsoft.com/office/powerpoint/2010/main" val="11999697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lor bar divider">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E7A64206-E5D2-9641-B701-233F978D3D1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flipH="1">
            <a:off x="-25052" y="3442180"/>
            <a:ext cx="9180576" cy="1734108"/>
          </a:xfrm>
          <a:prstGeom prst="rect">
            <a:avLst/>
          </a:prstGeom>
        </p:spPr>
      </p:pic>
      <p:sp>
        <p:nvSpPr>
          <p:cNvPr id="9" name="Rectangle 8">
            <a:extLst>
              <a:ext uri="{FF2B5EF4-FFF2-40B4-BE49-F238E27FC236}">
                <a16:creationId xmlns:a16="http://schemas.microsoft.com/office/drawing/2014/main" id="{929071A8-4270-314F-BCA6-2D9D0462A13C}"/>
              </a:ext>
            </a:extLst>
          </p:cNvPr>
          <p:cNvSpPr/>
          <p:nvPr userDrawn="1"/>
        </p:nvSpPr>
        <p:spPr>
          <a:xfrm>
            <a:off x="0" y="1769843"/>
            <a:ext cx="9144000" cy="226078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Footer Placeholder 2"/>
          <p:cNvSpPr>
            <a:spLocks noGrp="1"/>
          </p:cNvSpPr>
          <p:nvPr>
            <p:ph type="ftr" sz="quarter" idx="10"/>
          </p:nvPr>
        </p:nvSpPr>
        <p:spPr/>
        <p:txBody>
          <a:bodyPr/>
          <a:lstStyle>
            <a:lvl1pPr>
              <a:defRPr>
                <a:solidFill>
                  <a:schemeClr val="tx1"/>
                </a:solidFill>
              </a:defRPr>
            </a:lvl1p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lvl1pPr>
              <a:defRPr>
                <a:solidFill>
                  <a:schemeClr val="tx1"/>
                </a:solidFill>
              </a:defRPr>
            </a:lvl1pPr>
          </a:lstStyle>
          <a:p>
            <a:fld id="{5F113B49-C4D2-453F-848F-33FCBA6F44B6}" type="slidenum">
              <a:rPr lang="en-US" smtClean="0"/>
              <a:pPr/>
              <a:t>‹#›</a:t>
            </a:fld>
            <a:endParaRPr lang="en-US" dirty="0"/>
          </a:p>
        </p:txBody>
      </p:sp>
      <p:sp>
        <p:nvSpPr>
          <p:cNvPr id="12" name="Title 1">
            <a:extLst>
              <a:ext uri="{FF2B5EF4-FFF2-40B4-BE49-F238E27FC236}">
                <a16:creationId xmlns:a16="http://schemas.microsoft.com/office/drawing/2014/main" id="{7AA4D8C3-CC88-014A-8ABB-C7A9A442FA66}"/>
              </a:ext>
            </a:extLst>
          </p:cNvPr>
          <p:cNvSpPr>
            <a:spLocks noGrp="1"/>
          </p:cNvSpPr>
          <p:nvPr>
            <p:ph type="title" hasCustomPrompt="1"/>
          </p:nvPr>
        </p:nvSpPr>
        <p:spPr>
          <a:xfrm>
            <a:off x="685800" y="2895338"/>
            <a:ext cx="7772400" cy="788293"/>
          </a:xfrm>
        </p:spPr>
        <p:txBody>
          <a:bodyPr wrap="square" tIns="91440" bIns="91440" anchor="ctr">
            <a:spAutoFit/>
          </a:bodyPr>
          <a:lstStyle>
            <a:lvl1pPr algn="l">
              <a:defRPr sz="4800">
                <a:solidFill>
                  <a:schemeClr val="bg1"/>
                </a:solidFill>
              </a:defRPr>
            </a:lvl1pPr>
          </a:lstStyle>
          <a:p>
            <a:r>
              <a:rPr lang="en-US" dirty="0"/>
              <a:t>Click to insert section title</a:t>
            </a:r>
          </a:p>
        </p:txBody>
      </p:sp>
      <p:sp>
        <p:nvSpPr>
          <p:cNvPr id="14" name="object 5">
            <a:extLst>
              <a:ext uri="{FF2B5EF4-FFF2-40B4-BE49-F238E27FC236}">
                <a16:creationId xmlns:a16="http://schemas.microsoft.com/office/drawing/2014/main" id="{9B6B745D-CE41-F24F-85E9-ADA19B115142}"/>
              </a:ext>
            </a:extLst>
          </p:cNvPr>
          <p:cNvSpPr/>
          <p:nvPr userDrawn="1"/>
        </p:nvSpPr>
        <p:spPr>
          <a:xfrm>
            <a:off x="685801" y="2569464"/>
            <a:ext cx="858519" cy="100965"/>
          </a:xfrm>
          <a:custGeom>
            <a:avLst/>
            <a:gdLst/>
            <a:ahLst/>
            <a:cxnLst/>
            <a:rect l="l" t="t" r="r" b="b"/>
            <a:pathLst>
              <a:path w="858520" h="100964">
                <a:moveTo>
                  <a:pt x="0" y="100584"/>
                </a:moveTo>
                <a:lnTo>
                  <a:pt x="858011" y="100584"/>
                </a:lnTo>
                <a:lnTo>
                  <a:pt x="858011" y="0"/>
                </a:lnTo>
                <a:lnTo>
                  <a:pt x="0" y="0"/>
                </a:lnTo>
                <a:lnTo>
                  <a:pt x="0" y="100584"/>
                </a:lnTo>
                <a:close/>
              </a:path>
            </a:pathLst>
          </a:custGeom>
          <a:solidFill>
            <a:srgbClr val="FFB400"/>
          </a:solidFill>
        </p:spPr>
        <p:txBody>
          <a:bodyPr wrap="square" lIns="0" tIns="0" rIns="0" bIns="0" rtlCol="0"/>
          <a:lstStyle/>
          <a:p>
            <a:endParaRPr dirty="0"/>
          </a:p>
        </p:txBody>
      </p:sp>
    </p:spTree>
    <p:extLst>
      <p:ext uri="{BB962C8B-B14F-4D97-AF65-F5344CB8AC3E}">
        <p14:creationId xmlns:p14="http://schemas.microsoft.com/office/powerpoint/2010/main" val="14903674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Enter table of contents title</a:t>
            </a:r>
          </a:p>
        </p:txBody>
      </p:sp>
      <p:sp>
        <p:nvSpPr>
          <p:cNvPr id="31" name="Text Placeholder 5"/>
          <p:cNvSpPr>
            <a:spLocks noGrp="1"/>
          </p:cNvSpPr>
          <p:nvPr>
            <p:ph type="body" sz="quarter" idx="12" hasCustomPrompt="1"/>
          </p:nvPr>
        </p:nvSpPr>
        <p:spPr>
          <a:xfrm>
            <a:off x="8021256" y="2057400"/>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32" name="Text Placeholder 7"/>
          <p:cNvSpPr>
            <a:spLocks noGrp="1"/>
          </p:cNvSpPr>
          <p:nvPr>
            <p:ph type="body" sz="quarter" idx="13" hasCustomPrompt="1"/>
          </p:nvPr>
        </p:nvSpPr>
        <p:spPr>
          <a:xfrm>
            <a:off x="685800" y="2057400"/>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67" name="Text Placeholder 5"/>
          <p:cNvSpPr>
            <a:spLocks noGrp="1"/>
          </p:cNvSpPr>
          <p:nvPr>
            <p:ph type="body" sz="quarter" idx="14" hasCustomPrompt="1"/>
          </p:nvPr>
        </p:nvSpPr>
        <p:spPr>
          <a:xfrm>
            <a:off x="8021256" y="2449706"/>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68" name="Text Placeholder 7"/>
          <p:cNvSpPr>
            <a:spLocks noGrp="1"/>
          </p:cNvSpPr>
          <p:nvPr>
            <p:ph type="body" sz="quarter" idx="15" hasCustomPrompt="1"/>
          </p:nvPr>
        </p:nvSpPr>
        <p:spPr>
          <a:xfrm>
            <a:off x="685800" y="2449706"/>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69" name="Text Placeholder 5"/>
          <p:cNvSpPr>
            <a:spLocks noGrp="1"/>
          </p:cNvSpPr>
          <p:nvPr>
            <p:ph type="body" sz="quarter" idx="16" hasCustomPrompt="1"/>
          </p:nvPr>
        </p:nvSpPr>
        <p:spPr>
          <a:xfrm>
            <a:off x="8021256" y="2842012"/>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70" name="Text Placeholder 7"/>
          <p:cNvSpPr>
            <a:spLocks noGrp="1"/>
          </p:cNvSpPr>
          <p:nvPr>
            <p:ph type="body" sz="quarter" idx="17" hasCustomPrompt="1"/>
          </p:nvPr>
        </p:nvSpPr>
        <p:spPr>
          <a:xfrm>
            <a:off x="685800" y="2842012"/>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71" name="Text Placeholder 5"/>
          <p:cNvSpPr>
            <a:spLocks noGrp="1"/>
          </p:cNvSpPr>
          <p:nvPr>
            <p:ph type="body" sz="quarter" idx="18" hasCustomPrompt="1"/>
          </p:nvPr>
        </p:nvSpPr>
        <p:spPr>
          <a:xfrm>
            <a:off x="8021256" y="3234318"/>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72" name="Text Placeholder 7"/>
          <p:cNvSpPr>
            <a:spLocks noGrp="1"/>
          </p:cNvSpPr>
          <p:nvPr>
            <p:ph type="body" sz="quarter" idx="19" hasCustomPrompt="1"/>
          </p:nvPr>
        </p:nvSpPr>
        <p:spPr>
          <a:xfrm>
            <a:off x="685800" y="3234318"/>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81" name="Text Placeholder 5"/>
          <p:cNvSpPr>
            <a:spLocks noGrp="1"/>
          </p:cNvSpPr>
          <p:nvPr>
            <p:ph type="body" sz="quarter" idx="28" hasCustomPrompt="1"/>
          </p:nvPr>
        </p:nvSpPr>
        <p:spPr>
          <a:xfrm>
            <a:off x="8021256" y="4411236"/>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82" name="Text Placeholder 7"/>
          <p:cNvSpPr>
            <a:spLocks noGrp="1"/>
          </p:cNvSpPr>
          <p:nvPr>
            <p:ph type="body" sz="quarter" idx="29" hasCustomPrompt="1"/>
          </p:nvPr>
        </p:nvSpPr>
        <p:spPr>
          <a:xfrm>
            <a:off x="685800" y="4411236"/>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25" name="Text Placeholder 5">
            <a:extLst>
              <a:ext uri="{FF2B5EF4-FFF2-40B4-BE49-F238E27FC236}">
                <a16:creationId xmlns:a16="http://schemas.microsoft.com/office/drawing/2014/main" id="{4CB61626-A5BC-FA45-9FF5-BA52ABD7E1FA}"/>
              </a:ext>
            </a:extLst>
          </p:cNvPr>
          <p:cNvSpPr>
            <a:spLocks noGrp="1"/>
          </p:cNvSpPr>
          <p:nvPr>
            <p:ph type="body" sz="quarter" idx="30" hasCustomPrompt="1"/>
          </p:nvPr>
        </p:nvSpPr>
        <p:spPr>
          <a:xfrm>
            <a:off x="8021256" y="4018930"/>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26" name="Text Placeholder 7">
            <a:extLst>
              <a:ext uri="{FF2B5EF4-FFF2-40B4-BE49-F238E27FC236}">
                <a16:creationId xmlns:a16="http://schemas.microsoft.com/office/drawing/2014/main" id="{945E5FAE-3300-CD4D-8C2C-EC379FA56C99}"/>
              </a:ext>
            </a:extLst>
          </p:cNvPr>
          <p:cNvSpPr>
            <a:spLocks noGrp="1"/>
          </p:cNvSpPr>
          <p:nvPr>
            <p:ph type="body" sz="quarter" idx="31" hasCustomPrompt="1"/>
          </p:nvPr>
        </p:nvSpPr>
        <p:spPr>
          <a:xfrm>
            <a:off x="685800" y="4018930"/>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27" name="Text Placeholder 5">
            <a:extLst>
              <a:ext uri="{FF2B5EF4-FFF2-40B4-BE49-F238E27FC236}">
                <a16:creationId xmlns:a16="http://schemas.microsoft.com/office/drawing/2014/main" id="{CE2AE467-F864-264D-A1A5-40A7C8E3A634}"/>
              </a:ext>
            </a:extLst>
          </p:cNvPr>
          <p:cNvSpPr>
            <a:spLocks noGrp="1"/>
          </p:cNvSpPr>
          <p:nvPr>
            <p:ph type="body" sz="quarter" idx="32" hasCustomPrompt="1"/>
          </p:nvPr>
        </p:nvSpPr>
        <p:spPr>
          <a:xfrm>
            <a:off x="8021256" y="3626624"/>
            <a:ext cx="436944" cy="166199"/>
          </a:xfrm>
        </p:spPr>
        <p:txBody>
          <a:bodyPr anchor="t">
            <a:spAutoFit/>
          </a:bodyPr>
          <a:lstStyle>
            <a:lvl1pPr algn="r">
              <a:defRPr sz="1200" b="0" spc="0" baseline="0">
                <a:solidFill>
                  <a:schemeClr val="accent2"/>
                </a:solidFill>
              </a:defRPr>
            </a:lvl1pPr>
            <a:lvl2pPr>
              <a:defRPr sz="2400" b="1"/>
            </a:lvl2pPr>
            <a:lvl3pPr>
              <a:defRPr sz="2400" b="1"/>
            </a:lvl3pPr>
            <a:lvl4pPr>
              <a:defRPr sz="2400" b="1"/>
            </a:lvl4pPr>
            <a:lvl5pPr>
              <a:defRPr sz="2400" b="1"/>
            </a:lvl5pPr>
          </a:lstStyle>
          <a:p>
            <a:pPr lvl="0"/>
            <a:r>
              <a:rPr lang="en-US" dirty="0"/>
              <a:t>##</a:t>
            </a:r>
          </a:p>
        </p:txBody>
      </p:sp>
      <p:sp>
        <p:nvSpPr>
          <p:cNvPr id="28" name="Text Placeholder 7">
            <a:extLst>
              <a:ext uri="{FF2B5EF4-FFF2-40B4-BE49-F238E27FC236}">
                <a16:creationId xmlns:a16="http://schemas.microsoft.com/office/drawing/2014/main" id="{2B1D618E-FE82-7E4E-AC06-38DDD4D254DD}"/>
              </a:ext>
            </a:extLst>
          </p:cNvPr>
          <p:cNvSpPr>
            <a:spLocks noGrp="1"/>
          </p:cNvSpPr>
          <p:nvPr>
            <p:ph type="body" sz="quarter" idx="33" hasCustomPrompt="1"/>
          </p:nvPr>
        </p:nvSpPr>
        <p:spPr>
          <a:xfrm>
            <a:off x="685800" y="3626624"/>
            <a:ext cx="3657600" cy="166199"/>
          </a:xfrm>
        </p:spPr>
        <p:txBody>
          <a:bodyPr wrap="square" anchor="t">
            <a:spAutoFit/>
          </a:bodyPr>
          <a:lstStyle>
            <a:lvl1pPr>
              <a:defRPr sz="1200" b="0" spc="0" baseline="0">
                <a:solidFill>
                  <a:schemeClr val="tx1"/>
                </a:solidFill>
              </a:defRPr>
            </a:lvl1pPr>
          </a:lstStyle>
          <a:p>
            <a:pPr lvl="0"/>
            <a:r>
              <a:rPr lang="en-US" dirty="0"/>
              <a:t>Click to edit section</a:t>
            </a:r>
          </a:p>
        </p:txBody>
      </p:sp>
      <p:sp>
        <p:nvSpPr>
          <p:cNvPr id="6" name="Footer Placeholder 5">
            <a:extLst>
              <a:ext uri="{FF2B5EF4-FFF2-40B4-BE49-F238E27FC236}">
                <a16:creationId xmlns:a16="http://schemas.microsoft.com/office/drawing/2014/main" id="{12DBF29B-B68B-4242-B38A-E4AD2F2D9C3A}"/>
              </a:ext>
            </a:extLst>
          </p:cNvPr>
          <p:cNvSpPr>
            <a:spLocks noGrp="1"/>
          </p:cNvSpPr>
          <p:nvPr>
            <p:ph type="ftr" sz="quarter" idx="34"/>
          </p:nvPr>
        </p:nvSpPr>
        <p:spPr/>
        <p:txBody>
          <a:bodyPr/>
          <a:lstStyle/>
          <a:p>
            <a:r>
              <a:rPr lang="en-US" dirty="0"/>
              <a:t>Confidential Commercial Information — Confidential Treatment and FOIA Exemption Requested</a:t>
            </a:r>
          </a:p>
        </p:txBody>
      </p:sp>
      <p:sp>
        <p:nvSpPr>
          <p:cNvPr id="7" name="Slide Number Placeholder 6">
            <a:extLst>
              <a:ext uri="{FF2B5EF4-FFF2-40B4-BE49-F238E27FC236}">
                <a16:creationId xmlns:a16="http://schemas.microsoft.com/office/drawing/2014/main" id="{9043DBA5-4661-1F44-BF1D-1AC61275EA8E}"/>
              </a:ext>
            </a:extLst>
          </p:cNvPr>
          <p:cNvSpPr>
            <a:spLocks noGrp="1"/>
          </p:cNvSpPr>
          <p:nvPr>
            <p:ph type="sldNum" sz="quarter" idx="35"/>
          </p:nvPr>
        </p:nvSpPr>
        <p:spPr/>
        <p:txBody>
          <a:bodyPr/>
          <a:lstStyle/>
          <a:p>
            <a:fld id="{5F113B49-C4D2-453F-848F-33FCBA6F44B6}" type="slidenum">
              <a:rPr lang="en-US" smtClean="0"/>
              <a:pPr/>
              <a:t>‹#›</a:t>
            </a:fld>
            <a:endParaRPr lang="en-US" dirty="0"/>
          </a:p>
        </p:txBody>
      </p:sp>
      <p:pic>
        <p:nvPicPr>
          <p:cNvPr id="23" name="Graphic 22">
            <a:extLst>
              <a:ext uri="{FF2B5EF4-FFF2-40B4-BE49-F238E27FC236}">
                <a16:creationId xmlns:a16="http://schemas.microsoft.com/office/drawing/2014/main" id="{2F00FE15-B09A-804E-8CAD-E8F8FD2A394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1607650940"/>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One column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9" name="Content Placeholder 8"/>
          <p:cNvSpPr>
            <a:spLocks noGrp="1"/>
          </p:cNvSpPr>
          <p:nvPr>
            <p:ph sz="quarter" idx="12" hasCustomPrompt="1"/>
          </p:nvPr>
        </p:nvSpPr>
        <p:spPr>
          <a:xfrm>
            <a:off x="685800" y="2057400"/>
            <a:ext cx="7772400" cy="4114800"/>
          </a:xfrm>
        </p:spPr>
        <p:txBody>
          <a:bodyPr/>
          <a:lstStyle>
            <a:lvl1pPr>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a:extLst>
              <a:ext uri="{FF2B5EF4-FFF2-40B4-BE49-F238E27FC236}">
                <a16:creationId xmlns:a16="http://schemas.microsoft.com/office/drawing/2014/main" id="{13706D9A-8C0A-C74E-96A0-EC998E2AE714}"/>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wo columns that can be used for text, images, charts, or tables. Click to change text.</a:t>
            </a:r>
          </a:p>
        </p:txBody>
      </p:sp>
      <p:pic>
        <p:nvPicPr>
          <p:cNvPr id="10" name="Graphic 9">
            <a:extLst>
              <a:ext uri="{FF2B5EF4-FFF2-40B4-BE49-F238E27FC236}">
                <a16:creationId xmlns:a16="http://schemas.microsoft.com/office/drawing/2014/main" id="{DDEEB898-43F4-AA43-B1B4-0E3C658531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0778544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Two column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9" name="Content Placeholder 8"/>
          <p:cNvSpPr>
            <a:spLocks noGrp="1"/>
          </p:cNvSpPr>
          <p:nvPr>
            <p:ph sz="quarter" idx="12" hasCustomPrompt="1"/>
          </p:nvPr>
        </p:nvSpPr>
        <p:spPr>
          <a:xfrm>
            <a:off x="685800" y="2057400"/>
            <a:ext cx="3657600" cy="4114800"/>
          </a:xfrm>
        </p:spPr>
        <p:txBody>
          <a:bodyPr/>
          <a:lstStyle>
            <a:lvl1pPr>
              <a:defRPr/>
            </a:lvl1pPr>
            <a:lvl2pPr>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8"/>
          <p:cNvSpPr>
            <a:spLocks noGrp="1"/>
          </p:cNvSpPr>
          <p:nvPr>
            <p:ph sz="quarter" idx="13" hasCustomPrompt="1"/>
          </p:nvPr>
        </p:nvSpPr>
        <p:spPr>
          <a:xfrm>
            <a:off x="4800600" y="2057400"/>
            <a:ext cx="36576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5C1D6D42-BEF4-264B-B0FB-4A6753581647}"/>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wo columns that can be used for text, images, charts, or tables. Click to change text.</a:t>
            </a:r>
          </a:p>
        </p:txBody>
      </p:sp>
      <p:pic>
        <p:nvPicPr>
          <p:cNvPr id="13" name="Graphic 12">
            <a:extLst>
              <a:ext uri="{FF2B5EF4-FFF2-40B4-BE49-F238E27FC236}">
                <a16:creationId xmlns:a16="http://schemas.microsoft.com/office/drawing/2014/main" id="{14A3F6EA-A14E-A746-8FBE-59BDCB2DC13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3413436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1">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Left two-thirds column layout</a:t>
            </a:r>
          </a:p>
        </p:txBody>
      </p:sp>
      <p:sp>
        <p:nvSpPr>
          <p:cNvPr id="3" name="Footer Placeholder 2"/>
          <p:cNvSpPr>
            <a:spLocks noGrp="1"/>
          </p:cNvSpPr>
          <p:nvPr>
            <p:ph type="ftr" sz="quarter" idx="10"/>
          </p:nvPr>
        </p:nvSpPr>
        <p:spPr/>
        <p:txBody>
          <a:bodyPr/>
          <a:lstStyle/>
          <a:p>
            <a:r>
              <a:rPr lang="en-US" dirty="0"/>
              <a:t>Confidential Commercial Information — Confidential Treatment and FOIA Exemption Requested</a:t>
            </a:r>
          </a:p>
        </p:txBody>
      </p:sp>
      <p:sp>
        <p:nvSpPr>
          <p:cNvPr id="4" name="Slide Number Placeholder 3"/>
          <p:cNvSpPr>
            <a:spLocks noGrp="1"/>
          </p:cNvSpPr>
          <p:nvPr>
            <p:ph type="sldNum" sz="quarter" idx="11"/>
          </p:nvPr>
        </p:nvSpPr>
        <p:spPr/>
        <p:txBody>
          <a:bodyPr/>
          <a:lstStyle/>
          <a:p>
            <a:fld id="{5F113B49-C4D2-453F-848F-33FCBA6F44B6}" type="slidenum">
              <a:rPr lang="en-US" smtClean="0"/>
              <a:pPr/>
              <a:t>‹#›</a:t>
            </a:fld>
            <a:endParaRPr lang="en-US" dirty="0"/>
          </a:p>
        </p:txBody>
      </p:sp>
      <p:sp>
        <p:nvSpPr>
          <p:cNvPr id="9" name="Content Placeholder 8"/>
          <p:cNvSpPr>
            <a:spLocks noGrp="1"/>
          </p:cNvSpPr>
          <p:nvPr>
            <p:ph sz="quarter" idx="12" hasCustomPrompt="1"/>
          </p:nvPr>
        </p:nvSpPr>
        <p:spPr>
          <a:xfrm>
            <a:off x="685800" y="2057400"/>
            <a:ext cx="50292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8"/>
          <p:cNvSpPr>
            <a:spLocks noGrp="1"/>
          </p:cNvSpPr>
          <p:nvPr>
            <p:ph sz="quarter" idx="13" hasCustomPrompt="1"/>
          </p:nvPr>
        </p:nvSpPr>
        <p:spPr>
          <a:xfrm>
            <a:off x="6172200" y="2057400"/>
            <a:ext cx="2286000" cy="4114800"/>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168DA138-21EF-054B-98A2-C0461585A63B}"/>
              </a:ext>
            </a:extLst>
          </p:cNvPr>
          <p:cNvSpPr>
            <a:spLocks noGrp="1"/>
          </p:cNvSpPr>
          <p:nvPr>
            <p:ph type="body" sz="quarter" idx="14" hasCustomPrompt="1"/>
          </p:nvPr>
        </p:nvSpPr>
        <p:spPr>
          <a:xfrm>
            <a:off x="685800" y="1143000"/>
            <a:ext cx="6648061" cy="387798"/>
          </a:xfrm>
        </p:spPr>
        <p:txBody>
          <a:bodyPr/>
          <a:lstStyle>
            <a:lvl1pPr>
              <a:defRPr sz="1400">
                <a:solidFill>
                  <a:schemeClr val="accent1"/>
                </a:solidFill>
              </a:defRPr>
            </a:lvl1pPr>
          </a:lstStyle>
          <a:p>
            <a:pPr lvl="0"/>
            <a:r>
              <a:rPr lang="en-US" dirty="0"/>
              <a:t>This layout features two columns that can be used for text, images, charts, or tables. Click to change text.</a:t>
            </a:r>
          </a:p>
        </p:txBody>
      </p:sp>
      <p:pic>
        <p:nvPicPr>
          <p:cNvPr id="13" name="Graphic 12">
            <a:extLst>
              <a:ext uri="{FF2B5EF4-FFF2-40B4-BE49-F238E27FC236}">
                <a16:creationId xmlns:a16="http://schemas.microsoft.com/office/drawing/2014/main" id="{6F2DEBE6-C787-8840-A13B-68A83AD8397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960659" y="5674659"/>
            <a:ext cx="1183341" cy="1183341"/>
          </a:xfrm>
          <a:prstGeom prst="rect">
            <a:avLst/>
          </a:prstGeom>
        </p:spPr>
      </p:pic>
    </p:spTree>
    <p:extLst>
      <p:ext uri="{BB962C8B-B14F-4D97-AF65-F5344CB8AC3E}">
        <p14:creationId xmlns:p14="http://schemas.microsoft.com/office/powerpoint/2010/main" val="1566783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vmlDrawing" Target="../drawings/vmlDrawing2.v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2.xml"/><Relationship Id="rId17" Type="http://schemas.openxmlformats.org/officeDocument/2006/relationships/image" Target="../media/image15.emf"/><Relationship Id="rId2" Type="http://schemas.openxmlformats.org/officeDocument/2006/relationships/slideLayout" Target="../slideLayouts/slideLayout22.xml"/><Relationship Id="rId16" Type="http://schemas.openxmlformats.org/officeDocument/2006/relationships/oleObject" Target="../embeddings/oleObject2.bin"/><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tags" Target="../tags/tag4.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DAA3E6-B4FC-45A7-85E5-5BDA15B857FE}"/>
              </a:ext>
            </a:extLst>
          </p:cNvPr>
          <p:cNvGraphicFramePr>
            <a:graphicFrameLocks noChangeAspect="1"/>
          </p:cNvGraphicFramePr>
          <p:nvPr userDrawn="1">
            <p:custDataLst>
              <p:tags r:id="rId23"/>
            </p:custDataLst>
            <p:extLst>
              <p:ext uri="{D42A27DB-BD31-4B8C-83A1-F6EECF244321}">
                <p14:modId xmlns:p14="http://schemas.microsoft.com/office/powerpoint/2010/main" val="434516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24" imgW="395" imgH="396" progId="TCLayout.ActiveDocument.1">
                  <p:embed/>
                </p:oleObj>
              </mc:Choice>
              <mc:Fallback>
                <p:oleObj name="think-cell Slide" r:id="rId24" imgW="395" imgH="396" progId="TCLayout.ActiveDocument.1">
                  <p:embed/>
                  <p:pic>
                    <p:nvPicPr>
                      <p:cNvPr id="7" name="Object 6" hidden="1">
                        <a:extLst>
                          <a:ext uri="{FF2B5EF4-FFF2-40B4-BE49-F238E27FC236}">
                            <a16:creationId xmlns:a16="http://schemas.microsoft.com/office/drawing/2014/main" id="{45DAA3E6-B4FC-45A7-85E5-5BDA15B857FE}"/>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85800" y="685800"/>
            <a:ext cx="6648061" cy="452753"/>
          </a:xfrm>
          <a:prstGeom prst="rect">
            <a:avLst/>
          </a:prstGeom>
        </p:spPr>
        <p:txBody>
          <a:bodyPr vert="horz" wrap="square" lIns="0" tIns="0" rIns="0" bIns="0" rtlCol="0" anchor="t" anchorCtr="0">
            <a:spAutoFit/>
          </a:bodyPr>
          <a:lstStyle/>
          <a:p>
            <a:r>
              <a:rPr lang="en-US" dirty="0"/>
              <a:t>Enter title text</a:t>
            </a:r>
          </a:p>
        </p:txBody>
      </p:sp>
      <p:sp>
        <p:nvSpPr>
          <p:cNvPr id="3" name="Text Placeholder 2"/>
          <p:cNvSpPr>
            <a:spLocks noGrp="1"/>
          </p:cNvSpPr>
          <p:nvPr>
            <p:ph type="body" idx="1"/>
          </p:nvPr>
        </p:nvSpPr>
        <p:spPr>
          <a:xfrm>
            <a:off x="685800" y="2057400"/>
            <a:ext cx="7772400" cy="1595309"/>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a:p>
            <a:pPr lvl="0"/>
            <a:endParaRPr lang="en-US" dirty="0"/>
          </a:p>
        </p:txBody>
      </p:sp>
      <p:sp>
        <p:nvSpPr>
          <p:cNvPr id="4" name="Footer Placeholder 3"/>
          <p:cNvSpPr>
            <a:spLocks noGrp="1"/>
          </p:cNvSpPr>
          <p:nvPr>
            <p:ph type="ftr" sz="quarter" idx="3"/>
          </p:nvPr>
        </p:nvSpPr>
        <p:spPr>
          <a:xfrm>
            <a:off x="868680" y="6473952"/>
            <a:ext cx="3086100" cy="91440"/>
          </a:xfrm>
          <a:prstGeom prst="rect">
            <a:avLst/>
          </a:prstGeom>
        </p:spPr>
        <p:txBody>
          <a:bodyPr vert="horz" lIns="0" tIns="0" rIns="0" bIns="0" rtlCol="0" anchor="ctr">
            <a:spAutoFit/>
          </a:bodyPr>
          <a:lstStyle>
            <a:lvl1pPr algn="l">
              <a:defRPr sz="600">
                <a:solidFill>
                  <a:schemeClr val="tx1"/>
                </a:solidFill>
              </a:defRPr>
            </a:lvl1pPr>
          </a:lstStyle>
          <a:p>
            <a:r>
              <a:rPr lang="en-US" dirty="0"/>
              <a:t>Confidential Commercial Information — Confidential Treatment and FOIA Exemption Requested</a:t>
            </a:r>
          </a:p>
        </p:txBody>
      </p:sp>
      <p:sp>
        <p:nvSpPr>
          <p:cNvPr id="5" name="Slide Number Placeholder 4"/>
          <p:cNvSpPr>
            <a:spLocks noGrp="1"/>
          </p:cNvSpPr>
          <p:nvPr>
            <p:ph type="sldNum" sz="quarter" idx="4"/>
          </p:nvPr>
        </p:nvSpPr>
        <p:spPr>
          <a:xfrm>
            <a:off x="685800" y="6473415"/>
            <a:ext cx="182880" cy="92333"/>
          </a:xfrm>
          <a:prstGeom prst="rect">
            <a:avLst/>
          </a:prstGeom>
        </p:spPr>
        <p:txBody>
          <a:bodyPr vert="horz" wrap="square" lIns="0" tIns="0" rIns="0" bIns="0" rtlCol="0" anchor="ctr">
            <a:spAutoFit/>
          </a:bodyPr>
          <a:lstStyle>
            <a:lvl1pPr algn="l">
              <a:defRPr sz="600">
                <a:solidFill>
                  <a:schemeClr val="tx1"/>
                </a:solidFill>
              </a:defRPr>
            </a:lvl1pPr>
          </a:lstStyle>
          <a:p>
            <a:fld id="{5F113B49-C4D2-453F-848F-33FCBA6F44B6}" type="slidenum">
              <a:rPr lang="en-US" smtClean="0"/>
              <a:pPr/>
              <a:t>‹#›</a:t>
            </a:fld>
            <a:endParaRPr lang="en-US" dirty="0"/>
          </a:p>
        </p:txBody>
      </p:sp>
    </p:spTree>
    <p:extLst>
      <p:ext uri="{BB962C8B-B14F-4D97-AF65-F5344CB8AC3E}">
        <p14:creationId xmlns:p14="http://schemas.microsoft.com/office/powerpoint/2010/main" val="2173894106"/>
      </p:ext>
    </p:extLst>
  </p:cSld>
  <p:clrMap bg1="lt1" tx1="dk1" bg2="lt2" tx2="dk2" accent1="accent1" accent2="accent2" accent3="accent3" accent4="accent4" accent5="accent5" accent6="accent6" hlink="hlink" folHlink="folHlink"/>
  <p:sldLayoutIdLst>
    <p:sldLayoutId id="2147483754" r:id="rId1"/>
    <p:sldLayoutId id="2147483986" r:id="rId2"/>
    <p:sldLayoutId id="2147483945" r:id="rId3"/>
    <p:sldLayoutId id="2147483957" r:id="rId4"/>
    <p:sldLayoutId id="2147483987" r:id="rId5"/>
    <p:sldLayoutId id="2147483948" r:id="rId6"/>
    <p:sldLayoutId id="2147483967" r:id="rId7"/>
    <p:sldLayoutId id="2147483949" r:id="rId8"/>
    <p:sldLayoutId id="2147483951" r:id="rId9"/>
    <p:sldLayoutId id="2147483950" r:id="rId10"/>
    <p:sldLayoutId id="2147483952" r:id="rId11"/>
    <p:sldLayoutId id="2147483961" r:id="rId12"/>
    <p:sldLayoutId id="2147483962" r:id="rId13"/>
    <p:sldLayoutId id="2147483955" r:id="rId14"/>
    <p:sldLayoutId id="2147483964" r:id="rId15"/>
    <p:sldLayoutId id="2147483956" r:id="rId16"/>
    <p:sldLayoutId id="2147483954" r:id="rId17"/>
    <p:sldLayoutId id="2147483965" r:id="rId18"/>
    <p:sldLayoutId id="2147483953" r:id="rId19"/>
    <p:sldLayoutId id="2147483988" r:id="rId20"/>
  </p:sldLayoutIdLst>
  <p:hf hdr="0" dt="0"/>
  <p:txStyles>
    <p:titleStyle>
      <a:lvl1pPr algn="l" defTabSz="514350" rtl="0" eaLnBrk="1" latinLnBrk="0" hangingPunct="1">
        <a:lnSpc>
          <a:spcPct val="80000"/>
        </a:lnSpc>
        <a:spcBef>
          <a:spcPct val="0"/>
        </a:spcBef>
        <a:buNone/>
        <a:defRPr sz="3600" b="1" kern="1200" spc="0" baseline="0">
          <a:solidFill>
            <a:schemeClr val="tx2"/>
          </a:solidFill>
          <a:latin typeface="+mj-lt"/>
          <a:ea typeface="+mj-ea"/>
          <a:cs typeface="+mj-cs"/>
        </a:defRPr>
      </a:lvl1pPr>
    </p:titleStyle>
    <p:bodyStyle>
      <a:lvl1pPr marL="0" indent="0" algn="l" defTabSz="514350" rtl="0" eaLnBrk="1" latinLnBrk="0" hangingPunct="1">
        <a:lnSpc>
          <a:spcPct val="100000"/>
        </a:lnSpc>
        <a:spcBef>
          <a:spcPts val="0"/>
        </a:spcBef>
        <a:spcAft>
          <a:spcPts val="1200"/>
        </a:spcAft>
        <a:buFont typeface="+mj-lt"/>
        <a:buNone/>
        <a:defRPr lang="en-US" sz="1100" kern="1200" spc="0" baseline="0" dirty="0" smtClean="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2" userDrawn="1">
          <p15:clr>
            <a:srgbClr val="A4A3A4"/>
          </p15:clr>
        </p15:guide>
        <p15:guide id="2" orient="horz" pos="432" userDrawn="1">
          <p15:clr>
            <a:srgbClr val="A4A3A4"/>
          </p15:clr>
        </p15:guide>
        <p15:guide id="3" pos="5328" userDrawn="1">
          <p15:clr>
            <a:srgbClr val="A4A3A4"/>
          </p15:clr>
        </p15:guide>
        <p15:guide id="4" orient="horz" pos="3888" userDrawn="1">
          <p15:clr>
            <a:srgbClr val="A4A3A4"/>
          </p15:clr>
        </p15:guide>
        <p15:guide id="5" orient="horz" pos="720" userDrawn="1">
          <p15:clr>
            <a:srgbClr val="A4A3A4"/>
          </p15:clr>
        </p15:guide>
        <p15:guide id="6" orient="horz" pos="1296" userDrawn="1">
          <p15:clr>
            <a:srgbClr val="A4A3A4"/>
          </p15:clr>
        </p15:guide>
        <p15:guide id="7" orient="horz" pos="1872" userDrawn="1">
          <p15:clr>
            <a:srgbClr val="A4A3A4"/>
          </p15:clr>
        </p15:guide>
        <p15:guide id="8" orient="horz" pos="2448" userDrawn="1">
          <p15:clr>
            <a:srgbClr val="A4A3A4"/>
          </p15:clr>
        </p15:guide>
        <p15:guide id="9" orient="horz" pos="3024" userDrawn="1">
          <p15:clr>
            <a:srgbClr val="A4A3A4"/>
          </p15:clr>
        </p15:guide>
        <p15:guide id="10" orient="horz" pos="3600" userDrawn="1">
          <p15:clr>
            <a:srgbClr val="A4A3A4"/>
          </p15:clr>
        </p15:guide>
        <p15:guide id="11" pos="1872" userDrawn="1">
          <p15:clr>
            <a:srgbClr val="A4A3A4"/>
          </p15:clr>
        </p15:guide>
        <p15:guide id="12" pos="2160" userDrawn="1">
          <p15:clr>
            <a:srgbClr val="A4A3A4"/>
          </p15:clr>
        </p15:guide>
        <p15:guide id="13" pos="3600" userDrawn="1">
          <p15:clr>
            <a:srgbClr val="A4A3A4"/>
          </p15:clr>
        </p15:guide>
        <p15:guide id="14" pos="3888" userDrawn="1">
          <p15:clr>
            <a:srgbClr val="A4A3A4"/>
          </p15:clr>
        </p15:guide>
        <p15:guide id="15" orient="horz" pos="4200" userDrawn="1">
          <p15:clr>
            <a:srgbClr val="A4A3A4"/>
          </p15:clr>
        </p15:guide>
        <p15:guide id="16" orient="horz" pos="4032" userDrawn="1">
          <p15:clr>
            <a:srgbClr val="A4A3A4"/>
          </p15:clr>
        </p15:guide>
        <p15:guide id="17" pos="2880" userDrawn="1">
          <p15:clr>
            <a:srgbClr val="F26B43"/>
          </p15:clr>
        </p15:guide>
        <p15:guide id="18" pos="3024" userDrawn="1">
          <p15:clr>
            <a:srgbClr val="F26B43"/>
          </p15:clr>
        </p15:guide>
        <p15:guide id="19" pos="27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DBD2AF-434E-4F70-9861-7796DB0BAAE1}"/>
              </a:ext>
            </a:extLst>
          </p:cNvPr>
          <p:cNvGraphicFramePr>
            <a:graphicFrameLocks noChangeAspect="1"/>
          </p:cNvGraphicFramePr>
          <p:nvPr userDrawn="1">
            <p:custDataLst>
              <p:tags r:id="rId14"/>
            </p:custDataLst>
            <p:extLst>
              <p:ext uri="{D42A27DB-BD31-4B8C-83A1-F6EECF244321}">
                <p14:modId xmlns:p14="http://schemas.microsoft.com/office/powerpoint/2010/main" val="236710120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51" name="think-cell Slide" r:id="rId16" imgW="395" imgH="394" progId="TCLayout.ActiveDocument.1">
                  <p:embed/>
                </p:oleObj>
              </mc:Choice>
              <mc:Fallback>
                <p:oleObj name="think-cell Slide" r:id="rId16" imgW="395" imgH="394" progId="TCLayout.ActiveDocument.1">
                  <p:embed/>
                  <p:pic>
                    <p:nvPicPr>
                      <p:cNvPr id="5" name="Object 4" hidden="1">
                        <a:extLst>
                          <a:ext uri="{FF2B5EF4-FFF2-40B4-BE49-F238E27FC236}">
                            <a16:creationId xmlns:a16="http://schemas.microsoft.com/office/drawing/2014/main" id="{86DBD2AF-434E-4F70-9861-7796DB0BAAE1}"/>
                          </a:ext>
                        </a:extLst>
                      </p:cNvPr>
                      <p:cNvPicPr/>
                      <p:nvPr/>
                    </p:nvPicPr>
                    <p:blipFill>
                      <a:blip r:embed="rId17"/>
                      <a:stretch>
                        <a:fillRect/>
                      </a:stretch>
                    </p:blipFill>
                    <p:spPr>
                      <a:xfrm>
                        <a:off x="1191" y="1588"/>
                        <a:ext cx="1191"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A31EAA4-AC72-4CBE-A423-8C970191E80C}"/>
              </a:ext>
            </a:extLst>
          </p:cNvPr>
          <p:cNvSpPr/>
          <p:nvPr userDrawn="1">
            <p:custDataLst>
              <p:tags r:id="rId15"/>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500" b="1" i="0" baseline="0" dirty="0">
              <a:latin typeface="Source Sans Pro" panose="020B0503030403020204" pitchFamily="34" charset="0"/>
              <a:ea typeface="+mj-ea"/>
              <a:cs typeface="+mj-cs"/>
              <a:sym typeface="Source Sans Pro" panose="020B0503030403020204" pitchFamily="34" charset="0"/>
            </a:endParaRPr>
          </a:p>
        </p:txBody>
      </p:sp>
      <p:sp>
        <p:nvSpPr>
          <p:cNvPr id="2" name="Title Placeholder 1"/>
          <p:cNvSpPr>
            <a:spLocks noGrp="1"/>
          </p:cNvSpPr>
          <p:nvPr>
            <p:ph type="title"/>
          </p:nvPr>
        </p:nvSpPr>
        <p:spPr>
          <a:xfrm>
            <a:off x="685800" y="914400"/>
            <a:ext cx="7770114" cy="513987"/>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685800" y="2835771"/>
            <a:ext cx="7770114" cy="1160831"/>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08181912"/>
      </p:ext>
    </p:extLst>
  </p:cSld>
  <p:clrMap bg1="lt1" tx1="dk1" bg2="lt2" tx2="dk2" accent1="accent1" accent2="accent2" accent3="accent3" accent4="accent4" accent5="accent5" accent6="accent6" hlink="hlink" folHlink="folHlink"/>
  <p:sldLayoutIdLst>
    <p:sldLayoutId id="2147483990" r:id="rId1"/>
    <p:sldLayoutId id="2147483991" r:id="rId2"/>
    <p:sldLayoutId id="2147483992" r:id="rId3"/>
    <p:sldLayoutId id="2147483993" r:id="rId4"/>
    <p:sldLayoutId id="2147483994" r:id="rId5"/>
    <p:sldLayoutId id="2147483995" r:id="rId6"/>
    <p:sldLayoutId id="2147483996" r:id="rId7"/>
    <p:sldLayoutId id="2147483997" r:id="rId8"/>
    <p:sldLayoutId id="2147483998" r:id="rId9"/>
    <p:sldLayoutId id="2147483999" r:id="rId10"/>
    <p:sldLayoutId id="2147484000" r:id="rId11"/>
  </p:sldLayoutIdLst>
  <p:hf hdr="0" dt="0"/>
  <p:txStyles>
    <p:titleStyle>
      <a:lvl1pPr algn="l" defTabSz="685800" rtl="0" eaLnBrk="1" latinLnBrk="0" hangingPunct="1">
        <a:lnSpc>
          <a:spcPct val="70000"/>
        </a:lnSpc>
        <a:spcBef>
          <a:spcPct val="0"/>
        </a:spcBef>
        <a:spcAft>
          <a:spcPts val="900"/>
        </a:spcAft>
        <a:buNone/>
        <a:defRPr sz="4500" b="1" kern="1200">
          <a:solidFill>
            <a:schemeClr val="tx2"/>
          </a:solidFill>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500" kern="1200">
          <a:solidFill>
            <a:schemeClr val="tx1"/>
          </a:solidFill>
          <a:latin typeface="+mn-lt"/>
          <a:ea typeface="+mn-ea"/>
          <a:cs typeface="+mn-cs"/>
        </a:defRPr>
      </a:lvl1pPr>
      <a:lvl2pPr marL="7144" indent="-212598" algn="l" defTabSz="685800" rtl="0" eaLnBrk="1" latinLnBrk="0" hangingPunct="1">
        <a:lnSpc>
          <a:spcPct val="90000"/>
        </a:lnSpc>
        <a:spcBef>
          <a:spcPts val="375"/>
        </a:spcBef>
        <a:buFont typeface="Arial" panose="020B0604020202020204" pitchFamily="34" charset="0"/>
        <a:buChar char="•"/>
        <a:tabLst/>
        <a:defRPr sz="1350" kern="1200">
          <a:solidFill>
            <a:schemeClr val="tx1"/>
          </a:solidFill>
          <a:latin typeface="+mn-lt"/>
          <a:ea typeface="+mn-ea"/>
          <a:cs typeface="+mn-cs"/>
        </a:defRPr>
      </a:lvl2pPr>
      <a:lvl3pPr marL="429816" indent="-215504" algn="l" defTabSz="685800" rtl="0" eaLnBrk="1" latinLnBrk="0" hangingPunct="1">
        <a:lnSpc>
          <a:spcPct val="90000"/>
        </a:lnSpc>
        <a:spcBef>
          <a:spcPts val="375"/>
        </a:spcBef>
        <a:buFont typeface="Arial" panose="020B0604020202020204" pitchFamily="34" charset="0"/>
        <a:buChar char="•"/>
        <a:tabLst/>
        <a:defRPr sz="1350" kern="1200">
          <a:solidFill>
            <a:schemeClr val="tx1"/>
          </a:solidFill>
          <a:latin typeface="+mn-lt"/>
          <a:ea typeface="+mn-ea"/>
          <a:cs typeface="+mn-cs"/>
        </a:defRPr>
      </a:lvl3pPr>
      <a:lvl4pPr marL="645319" indent="-215504" algn="l" defTabSz="685800" rtl="0" eaLnBrk="1" latinLnBrk="0" hangingPunct="1">
        <a:lnSpc>
          <a:spcPct val="90000"/>
        </a:lnSpc>
        <a:spcBef>
          <a:spcPts val="375"/>
        </a:spcBef>
        <a:buFont typeface="Arial" panose="020B0604020202020204" pitchFamily="34" charset="0"/>
        <a:buChar char="•"/>
        <a:tabLst/>
        <a:defRPr sz="1350" kern="1200">
          <a:solidFill>
            <a:schemeClr val="tx1"/>
          </a:solidFill>
          <a:latin typeface="+mn-lt"/>
          <a:ea typeface="+mn-ea"/>
          <a:cs typeface="+mn-cs"/>
        </a:defRPr>
      </a:lvl4pPr>
      <a:lvl5pPr marL="860822" indent="-215504" algn="l" defTabSz="685800" rtl="0" eaLnBrk="1" latinLnBrk="0" hangingPunct="1">
        <a:lnSpc>
          <a:spcPct val="90000"/>
        </a:lnSpc>
        <a:spcBef>
          <a:spcPts val="375"/>
        </a:spcBef>
        <a:buFont typeface="Arial" panose="020B0604020202020204" pitchFamily="34" charset="0"/>
        <a:buChar char="•"/>
        <a:tabLst/>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0">
          <p15:clr>
            <a:srgbClr val="F26B43"/>
          </p15:clr>
        </p15:guide>
        <p15:guide id="2" pos="576">
          <p15:clr>
            <a:srgbClr val="F26B43"/>
          </p15:clr>
        </p15:guide>
        <p15:guide id="3" orient="horz" pos="1200">
          <p15:clr>
            <a:srgbClr val="F26B43"/>
          </p15:clr>
        </p15:guide>
        <p15:guide id="4" orient="horz" pos="576">
          <p15:clr>
            <a:srgbClr val="F26B43"/>
          </p15:clr>
        </p15:guide>
        <p15:guide id="6" orient="horz" pos="3888">
          <p15:clr>
            <a:srgbClr val="F26B43"/>
          </p15:clr>
        </p15:guide>
        <p15:guide id="7" orient="horz" pos="4032">
          <p15:clr>
            <a:srgbClr val="F26B43"/>
          </p15:clr>
        </p15:guide>
        <p15:guide id="8" pos="1992">
          <p15:clr>
            <a:srgbClr val="F26B43"/>
          </p15:clr>
        </p15:guide>
        <p15:guide id="9" pos="2280">
          <p15:clr>
            <a:srgbClr val="F26B43"/>
          </p15:clr>
        </p15:guide>
        <p15:guide id="10" pos="3696">
          <p15:clr>
            <a:srgbClr val="F26B43"/>
          </p15:clr>
        </p15:guide>
        <p15:guide id="11" pos="3984">
          <p15:clr>
            <a:srgbClr val="F26B43"/>
          </p15:clr>
        </p15:guide>
        <p15:guide id="12" pos="5400">
          <p15:clr>
            <a:srgbClr val="F26B43"/>
          </p15:clr>
        </p15:guide>
        <p15:guide id="13" pos="5688">
          <p15:clr>
            <a:srgbClr val="F26B43"/>
          </p15:clr>
        </p15:guide>
        <p15:guide id="15" pos="6720">
          <p15:clr>
            <a:srgbClr val="9FCC3B"/>
          </p15:clr>
        </p15:guide>
        <p15:guide id="16" pos="7152">
          <p15:clr>
            <a:srgbClr val="F26B43"/>
          </p15:clr>
        </p15:guide>
        <p15:guide id="17" pos="864">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8.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9.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12.xml"/><Relationship Id="rId7" Type="http://schemas.openxmlformats.org/officeDocument/2006/relationships/image" Target="../media/image31.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1.emf"/><Relationship Id="rId10" Type="http://schemas.openxmlformats.org/officeDocument/2006/relationships/image" Target="../media/image34.png"/><Relationship Id="rId4" Type="http://schemas.openxmlformats.org/officeDocument/2006/relationships/oleObject" Target="../embeddings/oleObject5.bin"/><Relationship Id="rId9" Type="http://schemas.openxmlformats.org/officeDocument/2006/relationships/image" Target="../media/image33.png"/></Relationships>
</file>

<file path=ppt/slides/_rels/slide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12.xml"/><Relationship Id="rId7" Type="http://schemas.openxmlformats.org/officeDocument/2006/relationships/image" Target="../media/image37.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96E121B-BE1A-448B-9D67-8D793DF57195}"/>
              </a:ext>
            </a:extLst>
          </p:cNvPr>
          <p:cNvGraphicFramePr>
            <a:graphicFrameLocks noChangeAspect="1"/>
          </p:cNvGraphicFramePr>
          <p:nvPr>
            <p:custDataLst>
              <p:tags r:id="rId2"/>
            </p:custDataLst>
            <p:extLst>
              <p:ext uri="{D42A27DB-BD31-4B8C-83A1-F6EECF244321}">
                <p14:modId xmlns:p14="http://schemas.microsoft.com/office/powerpoint/2010/main" val="188829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696E121B-BE1A-448B-9D67-8D793DF571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Placeholder 9" descr="Fields of grass in the countryside">
            <a:extLst>
              <a:ext uri="{FF2B5EF4-FFF2-40B4-BE49-F238E27FC236}">
                <a16:creationId xmlns:a16="http://schemas.microsoft.com/office/drawing/2014/main" id="{97DD3298-80EC-4F5B-BEDA-AD0F6EEFF048}"/>
              </a:ext>
            </a:extLst>
          </p:cNvPr>
          <p:cNvPicPr>
            <a:picLocks noGrp="1" noChangeAspect="1"/>
          </p:cNvPicPr>
          <p:nvPr>
            <p:ph type="pic" sz="quarter" idx="12"/>
          </p:nvPr>
        </p:nvPicPr>
        <p:blipFill>
          <a:blip r:embed="rId6" cstate="print">
            <a:extLst>
              <a:ext uri="{28A0092B-C50C-407E-A947-70E740481C1C}">
                <a14:useLocalDpi xmlns:a14="http://schemas.microsoft.com/office/drawing/2010/main" val="0"/>
              </a:ext>
            </a:extLst>
          </a:blip>
          <a:srcRect l="30050" r="30050"/>
          <a:stretch>
            <a:fillRect/>
          </a:stretch>
        </p:blipFill>
        <p:spPr/>
      </p:pic>
      <p:sp>
        <p:nvSpPr>
          <p:cNvPr id="2" name="Title 1"/>
          <p:cNvSpPr>
            <a:spLocks noGrp="1"/>
          </p:cNvSpPr>
          <p:nvPr>
            <p:ph type="title"/>
          </p:nvPr>
        </p:nvSpPr>
        <p:spPr>
          <a:xfrm>
            <a:off x="4572000" y="1024128"/>
            <a:ext cx="3874007" cy="548227"/>
          </a:xfrm>
        </p:spPr>
        <p:txBody>
          <a:bodyPr vert="horz"/>
          <a:lstStyle/>
          <a:p>
            <a:r>
              <a:rPr lang="en-US" dirty="0"/>
              <a:t>Duty to Serve </a:t>
            </a:r>
          </a:p>
        </p:txBody>
      </p:sp>
      <p:sp>
        <p:nvSpPr>
          <p:cNvPr id="20" name="Text Placeholder 19">
            <a:extLst>
              <a:ext uri="{FF2B5EF4-FFF2-40B4-BE49-F238E27FC236}">
                <a16:creationId xmlns:a16="http://schemas.microsoft.com/office/drawing/2014/main" id="{6C84849F-AB99-144D-A5F8-0743CD692403}"/>
              </a:ext>
            </a:extLst>
          </p:cNvPr>
          <p:cNvSpPr>
            <a:spLocks noGrp="1"/>
          </p:cNvSpPr>
          <p:nvPr>
            <p:ph type="body" sz="quarter" idx="10"/>
          </p:nvPr>
        </p:nvSpPr>
        <p:spPr>
          <a:xfrm>
            <a:off x="4343399" y="2874722"/>
            <a:ext cx="4102608" cy="997196"/>
          </a:xfrm>
        </p:spPr>
        <p:txBody>
          <a:bodyPr/>
          <a:lstStyle/>
          <a:p>
            <a:r>
              <a:rPr lang="en-US" dirty="0"/>
              <a:t>Listening Session – Affordable Housing Preservation</a:t>
            </a:r>
          </a:p>
        </p:txBody>
      </p:sp>
      <p:sp>
        <p:nvSpPr>
          <p:cNvPr id="4" name="Text Placeholder 3"/>
          <p:cNvSpPr>
            <a:spLocks noGrp="1"/>
          </p:cNvSpPr>
          <p:nvPr>
            <p:ph type="body" sz="quarter" idx="11"/>
          </p:nvPr>
        </p:nvSpPr>
        <p:spPr>
          <a:xfrm>
            <a:off x="4397341" y="3716672"/>
            <a:ext cx="3874008" cy="193899"/>
          </a:xfrm>
        </p:spPr>
        <p:txBody>
          <a:bodyPr/>
          <a:lstStyle/>
          <a:p>
            <a:r>
              <a:rPr lang="en-US" dirty="0"/>
              <a:t>July 2021</a:t>
            </a:r>
          </a:p>
        </p:txBody>
      </p:sp>
    </p:spTree>
    <p:extLst>
      <p:ext uri="{BB962C8B-B14F-4D97-AF65-F5344CB8AC3E}">
        <p14:creationId xmlns:p14="http://schemas.microsoft.com/office/powerpoint/2010/main" val="38973695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1" y="2368105"/>
            <a:ext cx="7772400" cy="788293"/>
          </a:xfrm>
        </p:spPr>
        <p:txBody>
          <a:bodyPr/>
          <a:lstStyle/>
          <a:p>
            <a:r>
              <a:rPr lang="en-US" dirty="0"/>
              <a:t>2018-2020 Accomplishments</a:t>
            </a:r>
          </a:p>
        </p:txBody>
      </p:sp>
      <p:sp>
        <p:nvSpPr>
          <p:cNvPr id="4" name="Slide Number Placeholder 3"/>
          <p:cNvSpPr>
            <a:spLocks noGrp="1"/>
          </p:cNvSpPr>
          <p:nvPr>
            <p:ph type="sldNum" sz="quarter" idx="11"/>
          </p:nvPr>
        </p:nvSpPr>
        <p:spPr/>
        <p:txBody>
          <a:bodyPr/>
          <a:lstStyle/>
          <a:p>
            <a:fld id="{5F113B49-C4D2-453F-848F-33FCBA6F44B6}" type="slidenum">
              <a:rPr lang="en-US" smtClean="0"/>
              <a:pPr/>
              <a:t>2</a:t>
            </a:fld>
            <a:endParaRPr lang="en-US" dirty="0"/>
          </a:p>
        </p:txBody>
      </p:sp>
    </p:spTree>
    <p:extLst>
      <p:ext uri="{BB962C8B-B14F-4D97-AF65-F5344CB8AC3E}">
        <p14:creationId xmlns:p14="http://schemas.microsoft.com/office/powerpoint/2010/main" val="2731080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 name="Picture 48" descr="Man working in factory">
            <a:extLst>
              <a:ext uri="{FF2B5EF4-FFF2-40B4-BE49-F238E27FC236}">
                <a16:creationId xmlns:a16="http://schemas.microsoft.com/office/drawing/2014/main" id="{55EE0D0F-D46A-4B47-B177-191FB8AB2FC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1"/>
            <a:ext cx="4891581" cy="6858001"/>
          </a:xfrm>
          <a:prstGeom prst="rect">
            <a:avLst/>
          </a:prstGeom>
        </p:spPr>
      </p:pic>
      <p:graphicFrame>
        <p:nvGraphicFramePr>
          <p:cNvPr id="5" name="Object 4" hidden="1">
            <a:extLst>
              <a:ext uri="{FF2B5EF4-FFF2-40B4-BE49-F238E27FC236}">
                <a16:creationId xmlns:a16="http://schemas.microsoft.com/office/drawing/2014/main" id="{884B081C-50DD-4A80-819D-82C9DC30200A}"/>
              </a:ext>
            </a:extLst>
          </p:cNvPr>
          <p:cNvGraphicFramePr>
            <a:graphicFrameLocks noChangeAspect="1"/>
          </p:cNvGraphicFramePr>
          <p:nvPr>
            <p:custDataLst>
              <p:tags r:id="rId2"/>
            </p:custDataLst>
            <p:extLst>
              <p:ext uri="{D42A27DB-BD31-4B8C-83A1-F6EECF244321}">
                <p14:modId xmlns:p14="http://schemas.microsoft.com/office/powerpoint/2010/main" val="2528990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884B081C-50DD-4A80-819D-82C9DC3020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Title 18"/>
          <p:cNvSpPr>
            <a:spLocks noGrp="1"/>
          </p:cNvSpPr>
          <p:nvPr>
            <p:ph type="title"/>
          </p:nvPr>
        </p:nvSpPr>
        <p:spPr>
          <a:xfrm>
            <a:off x="5677100" y="2567401"/>
            <a:ext cx="3621285" cy="1782347"/>
          </a:xfrm>
        </p:spPr>
        <p:txBody>
          <a:bodyPr vert="horz"/>
          <a:lstStyle/>
          <a:p>
            <a:r>
              <a:rPr lang="en-US" dirty="0"/>
              <a:t>Affordable Housing Preservation</a:t>
            </a:r>
            <a:br>
              <a:rPr lang="en-US" dirty="0"/>
            </a:br>
            <a:endParaRPr lang="en-US" dirty="0"/>
          </a:p>
        </p:txBody>
      </p:sp>
      <p:sp>
        <p:nvSpPr>
          <p:cNvPr id="3" name="Footer Placeholder 2"/>
          <p:cNvSpPr>
            <a:spLocks noGrp="1"/>
          </p:cNvSpPr>
          <p:nvPr>
            <p:ph type="ftr" sz="quarter" idx="10"/>
          </p:nvPr>
        </p:nvSpPr>
        <p:spPr/>
        <p:txBody>
          <a:bodyPr/>
          <a:lstStyle/>
          <a:p>
            <a:r>
              <a:rPr lang="en-US" dirty="0"/>
              <a:t>Review READ ME intro slides to update your confidentiality footer</a:t>
            </a:r>
          </a:p>
        </p:txBody>
      </p:sp>
      <p:sp>
        <p:nvSpPr>
          <p:cNvPr id="4" name="Slide Number Placeholder 3"/>
          <p:cNvSpPr>
            <a:spLocks noGrp="1"/>
          </p:cNvSpPr>
          <p:nvPr>
            <p:ph type="sldNum" sz="quarter" idx="11"/>
          </p:nvPr>
        </p:nvSpPr>
        <p:spPr/>
        <p:txBody>
          <a:bodyPr/>
          <a:lstStyle/>
          <a:p>
            <a:fld id="{5F113B49-C4D2-453F-848F-33FCBA6F44B6}" type="slidenum">
              <a:rPr lang="en-US" smtClean="0"/>
              <a:pPr/>
              <a:t>3</a:t>
            </a:fld>
            <a:endParaRPr lang="en-US" dirty="0"/>
          </a:p>
        </p:txBody>
      </p:sp>
      <p:sp>
        <p:nvSpPr>
          <p:cNvPr id="8" name="Rectangle 7">
            <a:extLst>
              <a:ext uri="{FF2B5EF4-FFF2-40B4-BE49-F238E27FC236}">
                <a16:creationId xmlns:a16="http://schemas.microsoft.com/office/drawing/2014/main" id="{090C8282-771C-5D49-80FA-3D6A8A8A7C00}"/>
              </a:ext>
            </a:extLst>
          </p:cNvPr>
          <p:cNvSpPr/>
          <p:nvPr/>
        </p:nvSpPr>
        <p:spPr>
          <a:xfrm>
            <a:off x="4003637" y="-1"/>
            <a:ext cx="137922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1EAE65C9-9B4A-2449-BDA3-9B0DE447ADF9}"/>
              </a:ext>
            </a:extLst>
          </p:cNvPr>
          <p:cNvSpPr txBox="1"/>
          <p:nvPr/>
        </p:nvSpPr>
        <p:spPr>
          <a:xfrm>
            <a:off x="4274519" y="437419"/>
            <a:ext cx="790281" cy="387798"/>
          </a:xfrm>
          <a:prstGeom prst="rect">
            <a:avLst/>
          </a:prstGeom>
          <a:noFill/>
        </p:spPr>
        <p:txBody>
          <a:bodyPr wrap="none" lIns="0" tIns="0" rIns="0" bIns="0" rtlCol="0">
            <a:spAutoFit/>
          </a:bodyPr>
          <a:lstStyle/>
          <a:p>
            <a:pPr algn="ctr">
              <a:lnSpc>
                <a:spcPct val="90000"/>
              </a:lnSpc>
              <a:spcAft>
                <a:spcPts val="1200"/>
              </a:spcAft>
            </a:pPr>
            <a:r>
              <a:rPr lang="en-US" sz="1400" dirty="0">
                <a:solidFill>
                  <a:schemeClr val="bg1"/>
                </a:solidFill>
              </a:rPr>
              <a:t>By the </a:t>
            </a:r>
            <a:br>
              <a:rPr lang="en-US" sz="1400" dirty="0">
                <a:solidFill>
                  <a:schemeClr val="bg1"/>
                </a:solidFill>
              </a:rPr>
            </a:br>
            <a:r>
              <a:rPr lang="en-US" sz="1400" b="1" dirty="0">
                <a:solidFill>
                  <a:schemeClr val="accent3"/>
                </a:solidFill>
              </a:rPr>
              <a:t>NUMBERS</a:t>
            </a:r>
          </a:p>
        </p:txBody>
      </p:sp>
      <p:cxnSp>
        <p:nvCxnSpPr>
          <p:cNvPr id="10" name="Straight Connector 9">
            <a:extLst>
              <a:ext uri="{FF2B5EF4-FFF2-40B4-BE49-F238E27FC236}">
                <a16:creationId xmlns:a16="http://schemas.microsoft.com/office/drawing/2014/main" id="{B23EAA80-61D7-1D4B-A9F5-769B947C1840}"/>
              </a:ext>
            </a:extLst>
          </p:cNvPr>
          <p:cNvCxnSpPr>
            <a:cxnSpLocks/>
          </p:cNvCxnSpPr>
          <p:nvPr/>
        </p:nvCxnSpPr>
        <p:spPr>
          <a:xfrm>
            <a:off x="4129179" y="818225"/>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69AC74B-E783-1141-B55B-9E4146BEA26B}"/>
              </a:ext>
            </a:extLst>
          </p:cNvPr>
          <p:cNvCxnSpPr>
            <a:cxnSpLocks/>
          </p:cNvCxnSpPr>
          <p:nvPr/>
        </p:nvCxnSpPr>
        <p:spPr>
          <a:xfrm>
            <a:off x="4094854" y="2726413"/>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0D47A404-DA6F-0545-9B4E-960B2860F654}"/>
              </a:ext>
            </a:extLst>
          </p:cNvPr>
          <p:cNvCxnSpPr>
            <a:cxnSpLocks/>
          </p:cNvCxnSpPr>
          <p:nvPr/>
        </p:nvCxnSpPr>
        <p:spPr>
          <a:xfrm>
            <a:off x="4129179" y="4484122"/>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207F2A39-E379-304F-8801-883E9DA3A1DD}"/>
              </a:ext>
            </a:extLst>
          </p:cNvPr>
          <p:cNvSpPr txBox="1"/>
          <p:nvPr/>
        </p:nvSpPr>
        <p:spPr>
          <a:xfrm>
            <a:off x="3929878" y="1662849"/>
            <a:ext cx="1379220" cy="969496"/>
          </a:xfrm>
          <a:prstGeom prst="rect">
            <a:avLst/>
          </a:prstGeom>
          <a:noFill/>
        </p:spPr>
        <p:txBody>
          <a:bodyPr wrap="square" lIns="0" tIns="0" rIns="0" bIns="0" rtlCol="0">
            <a:spAutoFit/>
          </a:bodyPr>
          <a:lstStyle/>
          <a:p>
            <a:pPr algn="ctr">
              <a:lnSpc>
                <a:spcPct val="90000"/>
              </a:lnSpc>
              <a:spcAft>
                <a:spcPts val="1200"/>
              </a:spcAft>
            </a:pPr>
            <a:r>
              <a:rPr lang="en-US" sz="1400" b="1" dirty="0">
                <a:solidFill>
                  <a:schemeClr val="accent3"/>
                </a:solidFill>
              </a:rPr>
              <a:t>$1.7 Billion</a:t>
            </a:r>
            <a:br>
              <a:rPr lang="en-US" sz="1400" dirty="0">
                <a:solidFill>
                  <a:schemeClr val="bg1"/>
                </a:solidFill>
              </a:rPr>
            </a:br>
            <a:r>
              <a:rPr lang="en-US" sz="1400" dirty="0">
                <a:solidFill>
                  <a:schemeClr val="bg1"/>
                </a:solidFill>
              </a:rPr>
              <a:t>Financing Residential Economic Diversity</a:t>
            </a:r>
          </a:p>
        </p:txBody>
      </p:sp>
      <p:sp>
        <p:nvSpPr>
          <p:cNvPr id="14" name="TextBox 13">
            <a:extLst>
              <a:ext uri="{FF2B5EF4-FFF2-40B4-BE49-F238E27FC236}">
                <a16:creationId xmlns:a16="http://schemas.microsoft.com/office/drawing/2014/main" id="{CB200059-05E9-2146-B18B-439C42C24213}"/>
              </a:ext>
            </a:extLst>
          </p:cNvPr>
          <p:cNvSpPr txBox="1"/>
          <p:nvPr/>
        </p:nvSpPr>
        <p:spPr>
          <a:xfrm>
            <a:off x="3992785" y="3614209"/>
            <a:ext cx="1325685" cy="775597"/>
          </a:xfrm>
          <a:prstGeom prst="rect">
            <a:avLst/>
          </a:prstGeom>
          <a:noFill/>
        </p:spPr>
        <p:txBody>
          <a:bodyPr wrap="square" lIns="0" tIns="0" rIns="0" bIns="0" rtlCol="0">
            <a:spAutoFit/>
          </a:bodyPr>
          <a:lstStyle/>
          <a:p>
            <a:pPr algn="ctr">
              <a:lnSpc>
                <a:spcPct val="90000"/>
              </a:lnSpc>
              <a:spcAft>
                <a:spcPts val="1200"/>
              </a:spcAft>
            </a:pPr>
            <a:r>
              <a:rPr lang="en-US" sz="1400" b="1" dirty="0">
                <a:solidFill>
                  <a:schemeClr val="accent3"/>
                </a:solidFill>
              </a:rPr>
              <a:t>1,203</a:t>
            </a:r>
            <a:br>
              <a:rPr lang="en-US" sz="1400" dirty="0">
                <a:solidFill>
                  <a:schemeClr val="bg1"/>
                </a:solidFill>
              </a:rPr>
            </a:br>
            <a:r>
              <a:rPr lang="en-US" sz="1400" dirty="0">
                <a:solidFill>
                  <a:schemeClr val="bg1"/>
                </a:solidFill>
              </a:rPr>
              <a:t>Smart thermostats provided</a:t>
            </a:r>
          </a:p>
        </p:txBody>
      </p:sp>
      <p:sp>
        <p:nvSpPr>
          <p:cNvPr id="15" name="TextBox 14">
            <a:extLst>
              <a:ext uri="{FF2B5EF4-FFF2-40B4-BE49-F238E27FC236}">
                <a16:creationId xmlns:a16="http://schemas.microsoft.com/office/drawing/2014/main" id="{61A6DA9D-5A6C-DB4C-ACAF-4E5BA153D5E1}"/>
              </a:ext>
            </a:extLst>
          </p:cNvPr>
          <p:cNvSpPr txBox="1"/>
          <p:nvPr/>
        </p:nvSpPr>
        <p:spPr>
          <a:xfrm>
            <a:off x="4062211" y="5429929"/>
            <a:ext cx="1259486" cy="969496"/>
          </a:xfrm>
          <a:prstGeom prst="rect">
            <a:avLst/>
          </a:prstGeom>
          <a:noFill/>
        </p:spPr>
        <p:txBody>
          <a:bodyPr wrap="square" lIns="0" tIns="0" rIns="0" bIns="0" rtlCol="0">
            <a:spAutoFit/>
          </a:bodyPr>
          <a:lstStyle/>
          <a:p>
            <a:pPr algn="ctr">
              <a:lnSpc>
                <a:spcPct val="90000"/>
              </a:lnSpc>
              <a:spcAft>
                <a:spcPts val="1200"/>
              </a:spcAft>
            </a:pPr>
            <a:r>
              <a:rPr lang="en-US" sz="1400" b="1" dirty="0">
                <a:solidFill>
                  <a:schemeClr val="accent3"/>
                </a:solidFill>
              </a:rPr>
              <a:t>15</a:t>
            </a:r>
            <a:br>
              <a:rPr lang="en-US" sz="1400" dirty="0">
                <a:solidFill>
                  <a:schemeClr val="accent3"/>
                </a:solidFill>
              </a:rPr>
            </a:br>
            <a:r>
              <a:rPr lang="en-US" sz="1400" dirty="0">
                <a:solidFill>
                  <a:schemeClr val="bg1"/>
                </a:solidFill>
              </a:rPr>
              <a:t>Number of states for shared equity loan purchases</a:t>
            </a:r>
          </a:p>
        </p:txBody>
      </p:sp>
      <p:sp>
        <p:nvSpPr>
          <p:cNvPr id="34" name="Freeform 196">
            <a:extLst>
              <a:ext uri="{FF2B5EF4-FFF2-40B4-BE49-F238E27FC236}">
                <a16:creationId xmlns:a16="http://schemas.microsoft.com/office/drawing/2014/main" id="{A76B20FA-3FF3-4214-B6EB-DB6A66C9F0F3}"/>
              </a:ext>
            </a:extLst>
          </p:cNvPr>
          <p:cNvSpPr>
            <a:spLocks noChangeAspect="1" noEditPoints="1"/>
          </p:cNvSpPr>
          <p:nvPr/>
        </p:nvSpPr>
        <p:spPr bwMode="auto">
          <a:xfrm>
            <a:off x="4353887" y="5012271"/>
            <a:ext cx="568128" cy="365760"/>
          </a:xfrm>
          <a:custGeom>
            <a:avLst/>
            <a:gdLst>
              <a:gd name="T0" fmla="*/ 234 w 594"/>
              <a:gd name="T1" fmla="*/ 338 h 383"/>
              <a:gd name="T2" fmla="*/ 176 w 594"/>
              <a:gd name="T3" fmla="*/ 302 h 383"/>
              <a:gd name="T4" fmla="*/ 41 w 594"/>
              <a:gd name="T5" fmla="*/ 241 h 383"/>
              <a:gd name="T6" fmla="*/ 10 w 594"/>
              <a:gd name="T7" fmla="*/ 177 h 383"/>
              <a:gd name="T8" fmla="*/ 8 w 594"/>
              <a:gd name="T9" fmla="*/ 102 h 383"/>
              <a:gd name="T10" fmla="*/ 29 w 594"/>
              <a:gd name="T11" fmla="*/ 35 h 383"/>
              <a:gd name="T12" fmla="*/ 327 w 594"/>
              <a:gd name="T13" fmla="*/ 48 h 383"/>
              <a:gd name="T14" fmla="*/ 389 w 594"/>
              <a:gd name="T15" fmla="*/ 65 h 383"/>
              <a:gd name="T16" fmla="*/ 438 w 594"/>
              <a:gd name="T17" fmla="*/ 85 h 383"/>
              <a:gd name="T18" fmla="*/ 477 w 594"/>
              <a:gd name="T19" fmla="*/ 92 h 383"/>
              <a:gd name="T20" fmla="*/ 544 w 594"/>
              <a:gd name="T21" fmla="*/ 29 h 383"/>
              <a:gd name="T22" fmla="*/ 589 w 594"/>
              <a:gd name="T23" fmla="*/ 26 h 383"/>
              <a:gd name="T24" fmla="*/ 577 w 594"/>
              <a:gd name="T25" fmla="*/ 74 h 383"/>
              <a:gd name="T26" fmla="*/ 547 w 594"/>
              <a:gd name="T27" fmla="*/ 114 h 383"/>
              <a:gd name="T28" fmla="*/ 544 w 594"/>
              <a:gd name="T29" fmla="*/ 155 h 383"/>
              <a:gd name="T30" fmla="*/ 532 w 594"/>
              <a:gd name="T31" fmla="*/ 217 h 383"/>
              <a:gd name="T32" fmla="*/ 501 w 594"/>
              <a:gd name="T33" fmla="*/ 262 h 383"/>
              <a:gd name="T34" fmla="*/ 523 w 594"/>
              <a:gd name="T35" fmla="*/ 319 h 383"/>
              <a:gd name="T36" fmla="*/ 495 w 594"/>
              <a:gd name="T37" fmla="*/ 344 h 383"/>
              <a:gd name="T38" fmla="*/ 461 w 594"/>
              <a:gd name="T39" fmla="*/ 304 h 383"/>
              <a:gd name="T40" fmla="*/ 409 w 594"/>
              <a:gd name="T41" fmla="*/ 309 h 383"/>
              <a:gd name="T42" fmla="*/ 360 w 594"/>
              <a:gd name="T43" fmla="*/ 325 h 383"/>
              <a:gd name="T44" fmla="*/ 312 w 594"/>
              <a:gd name="T45" fmla="*/ 348 h 383"/>
              <a:gd name="T46" fmla="*/ 311 w 594"/>
              <a:gd name="T47" fmla="*/ 381 h 383"/>
              <a:gd name="T48" fmla="*/ 308 w 594"/>
              <a:gd name="T49" fmla="*/ 332 h 383"/>
              <a:gd name="T50" fmla="*/ 362 w 594"/>
              <a:gd name="T51" fmla="*/ 312 h 383"/>
              <a:gd name="T52" fmla="*/ 421 w 594"/>
              <a:gd name="T53" fmla="*/ 290 h 383"/>
              <a:gd name="T54" fmla="*/ 489 w 594"/>
              <a:gd name="T55" fmla="*/ 308 h 383"/>
              <a:gd name="T56" fmla="*/ 513 w 594"/>
              <a:gd name="T57" fmla="*/ 335 h 383"/>
              <a:gd name="T58" fmla="*/ 487 w 594"/>
              <a:gd name="T59" fmla="*/ 276 h 383"/>
              <a:gd name="T60" fmla="*/ 510 w 594"/>
              <a:gd name="T61" fmla="*/ 223 h 383"/>
              <a:gd name="T62" fmla="*/ 520 w 594"/>
              <a:gd name="T63" fmla="*/ 166 h 383"/>
              <a:gd name="T64" fmla="*/ 536 w 594"/>
              <a:gd name="T65" fmla="*/ 123 h 383"/>
              <a:gd name="T66" fmla="*/ 559 w 594"/>
              <a:gd name="T67" fmla="*/ 85 h 383"/>
              <a:gd name="T68" fmla="*/ 574 w 594"/>
              <a:gd name="T69" fmla="*/ 36 h 383"/>
              <a:gd name="T70" fmla="*/ 556 w 594"/>
              <a:gd name="T71" fmla="*/ 39 h 383"/>
              <a:gd name="T72" fmla="*/ 497 w 594"/>
              <a:gd name="T73" fmla="*/ 99 h 383"/>
              <a:gd name="T74" fmla="*/ 436 w 594"/>
              <a:gd name="T75" fmla="*/ 124 h 383"/>
              <a:gd name="T76" fmla="*/ 423 w 594"/>
              <a:gd name="T77" fmla="*/ 88 h 383"/>
              <a:gd name="T78" fmla="*/ 407 w 594"/>
              <a:gd name="T79" fmla="*/ 143 h 383"/>
              <a:gd name="T80" fmla="*/ 386 w 594"/>
              <a:gd name="T81" fmla="*/ 84 h 383"/>
              <a:gd name="T82" fmla="*/ 337 w 594"/>
              <a:gd name="T83" fmla="*/ 80 h 383"/>
              <a:gd name="T84" fmla="*/ 63 w 594"/>
              <a:gd name="T85" fmla="*/ 33 h 383"/>
              <a:gd name="T86" fmla="*/ 30 w 594"/>
              <a:gd name="T87" fmla="*/ 87 h 383"/>
              <a:gd name="T88" fmla="*/ 16 w 594"/>
              <a:gd name="T89" fmla="*/ 148 h 383"/>
              <a:gd name="T90" fmla="*/ 35 w 594"/>
              <a:gd name="T91" fmla="*/ 210 h 383"/>
              <a:gd name="T92" fmla="*/ 137 w 594"/>
              <a:gd name="T93" fmla="*/ 286 h 383"/>
              <a:gd name="T94" fmla="*/ 222 w 594"/>
              <a:gd name="T95" fmla="*/ 321 h 383"/>
              <a:gd name="T96" fmla="*/ 506 w 594"/>
              <a:gd name="T97" fmla="*/ 349 h 383"/>
              <a:gd name="T98" fmla="*/ 321 w 594"/>
              <a:gd name="T99" fmla="*/ 328 h 383"/>
              <a:gd name="T100" fmla="*/ 475 w 594"/>
              <a:gd name="T101" fmla="*/ 308 h 383"/>
              <a:gd name="T102" fmla="*/ 414 w 594"/>
              <a:gd name="T103" fmla="*/ 291 h 383"/>
              <a:gd name="T104" fmla="*/ 502 w 594"/>
              <a:gd name="T105" fmla="*/ 257 h 383"/>
              <a:gd name="T106" fmla="*/ 534 w 594"/>
              <a:gd name="T107" fmla="*/ 199 h 383"/>
              <a:gd name="T108" fmla="*/ 399 w 594"/>
              <a:gd name="T109" fmla="*/ 114 h 383"/>
              <a:gd name="T110" fmla="*/ 404 w 594"/>
              <a:gd name="T111" fmla="*/ 130 h 383"/>
              <a:gd name="T112" fmla="*/ 435 w 594"/>
              <a:gd name="T113" fmla="*/ 101 h 383"/>
              <a:gd name="T114" fmla="*/ 572 w 594"/>
              <a:gd name="T115" fmla="*/ 80 h 383"/>
              <a:gd name="T116" fmla="*/ 367 w 594"/>
              <a:gd name="T117" fmla="*/ 67 h 383"/>
              <a:gd name="T118" fmla="*/ 319 w 594"/>
              <a:gd name="T119" fmla="*/ 59 h 383"/>
              <a:gd name="T120" fmla="*/ 574 w 594"/>
              <a:gd name="T121" fmla="*/ 36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4" h="383">
                <a:moveTo>
                  <a:pt x="305" y="383"/>
                </a:moveTo>
                <a:cubicBezTo>
                  <a:pt x="301" y="383"/>
                  <a:pt x="297" y="382"/>
                  <a:pt x="294" y="381"/>
                </a:cubicBezTo>
                <a:cubicBezTo>
                  <a:pt x="293" y="381"/>
                  <a:pt x="293" y="381"/>
                  <a:pt x="293" y="381"/>
                </a:cubicBezTo>
                <a:cubicBezTo>
                  <a:pt x="288" y="379"/>
                  <a:pt x="283" y="378"/>
                  <a:pt x="280" y="376"/>
                </a:cubicBezTo>
                <a:cubicBezTo>
                  <a:pt x="275" y="374"/>
                  <a:pt x="273" y="368"/>
                  <a:pt x="271" y="359"/>
                </a:cubicBezTo>
                <a:cubicBezTo>
                  <a:pt x="270" y="358"/>
                  <a:pt x="270" y="358"/>
                  <a:pt x="270" y="358"/>
                </a:cubicBezTo>
                <a:cubicBezTo>
                  <a:pt x="270" y="358"/>
                  <a:pt x="270" y="358"/>
                  <a:pt x="270" y="358"/>
                </a:cubicBezTo>
                <a:cubicBezTo>
                  <a:pt x="270" y="358"/>
                  <a:pt x="269" y="357"/>
                  <a:pt x="268" y="356"/>
                </a:cubicBezTo>
                <a:cubicBezTo>
                  <a:pt x="268" y="355"/>
                  <a:pt x="267" y="354"/>
                  <a:pt x="267" y="354"/>
                </a:cubicBezTo>
                <a:cubicBezTo>
                  <a:pt x="267" y="353"/>
                  <a:pt x="266" y="353"/>
                  <a:pt x="265" y="352"/>
                </a:cubicBezTo>
                <a:cubicBezTo>
                  <a:pt x="264" y="351"/>
                  <a:pt x="261" y="348"/>
                  <a:pt x="259" y="344"/>
                </a:cubicBezTo>
                <a:cubicBezTo>
                  <a:pt x="256" y="340"/>
                  <a:pt x="248" y="331"/>
                  <a:pt x="245" y="329"/>
                </a:cubicBezTo>
                <a:cubicBezTo>
                  <a:pt x="245" y="328"/>
                  <a:pt x="243" y="329"/>
                  <a:pt x="242" y="329"/>
                </a:cubicBezTo>
                <a:cubicBezTo>
                  <a:pt x="241" y="330"/>
                  <a:pt x="237" y="334"/>
                  <a:pt x="234" y="338"/>
                </a:cubicBezTo>
                <a:cubicBezTo>
                  <a:pt x="232" y="340"/>
                  <a:pt x="228" y="341"/>
                  <a:pt x="225" y="339"/>
                </a:cubicBezTo>
                <a:cubicBezTo>
                  <a:pt x="225" y="339"/>
                  <a:pt x="222" y="336"/>
                  <a:pt x="221" y="335"/>
                </a:cubicBezTo>
                <a:cubicBezTo>
                  <a:pt x="220" y="335"/>
                  <a:pt x="218" y="334"/>
                  <a:pt x="217" y="334"/>
                </a:cubicBezTo>
                <a:cubicBezTo>
                  <a:pt x="214" y="332"/>
                  <a:pt x="209" y="328"/>
                  <a:pt x="208" y="326"/>
                </a:cubicBezTo>
                <a:cubicBezTo>
                  <a:pt x="207" y="324"/>
                  <a:pt x="206" y="321"/>
                  <a:pt x="206" y="319"/>
                </a:cubicBezTo>
                <a:cubicBezTo>
                  <a:pt x="205" y="318"/>
                  <a:pt x="205" y="318"/>
                  <a:pt x="205" y="317"/>
                </a:cubicBezTo>
                <a:cubicBezTo>
                  <a:pt x="204" y="314"/>
                  <a:pt x="203" y="313"/>
                  <a:pt x="202" y="311"/>
                </a:cubicBezTo>
                <a:cubicBezTo>
                  <a:pt x="202" y="311"/>
                  <a:pt x="202" y="311"/>
                  <a:pt x="202" y="311"/>
                </a:cubicBezTo>
                <a:cubicBezTo>
                  <a:pt x="201" y="311"/>
                  <a:pt x="200" y="310"/>
                  <a:pt x="199" y="310"/>
                </a:cubicBezTo>
                <a:cubicBezTo>
                  <a:pt x="195" y="308"/>
                  <a:pt x="194" y="305"/>
                  <a:pt x="194" y="304"/>
                </a:cubicBezTo>
                <a:cubicBezTo>
                  <a:pt x="193" y="303"/>
                  <a:pt x="192" y="301"/>
                  <a:pt x="192" y="301"/>
                </a:cubicBezTo>
                <a:cubicBezTo>
                  <a:pt x="191" y="301"/>
                  <a:pt x="188" y="299"/>
                  <a:pt x="187" y="297"/>
                </a:cubicBezTo>
                <a:cubicBezTo>
                  <a:pt x="178" y="297"/>
                  <a:pt x="178" y="297"/>
                  <a:pt x="178" y="297"/>
                </a:cubicBezTo>
                <a:cubicBezTo>
                  <a:pt x="178" y="299"/>
                  <a:pt x="177" y="301"/>
                  <a:pt x="176" y="302"/>
                </a:cubicBezTo>
                <a:cubicBezTo>
                  <a:pt x="174" y="303"/>
                  <a:pt x="172" y="304"/>
                  <a:pt x="170" y="303"/>
                </a:cubicBezTo>
                <a:cubicBezTo>
                  <a:pt x="134" y="300"/>
                  <a:pt x="134" y="300"/>
                  <a:pt x="134" y="300"/>
                </a:cubicBezTo>
                <a:cubicBezTo>
                  <a:pt x="133" y="300"/>
                  <a:pt x="133" y="299"/>
                  <a:pt x="132" y="299"/>
                </a:cubicBezTo>
                <a:cubicBezTo>
                  <a:pt x="88" y="273"/>
                  <a:pt x="88" y="273"/>
                  <a:pt x="88" y="273"/>
                </a:cubicBezTo>
                <a:cubicBezTo>
                  <a:pt x="64" y="270"/>
                  <a:pt x="64" y="270"/>
                  <a:pt x="64" y="270"/>
                </a:cubicBezTo>
                <a:cubicBezTo>
                  <a:pt x="61" y="270"/>
                  <a:pt x="59" y="268"/>
                  <a:pt x="58" y="265"/>
                </a:cubicBezTo>
                <a:cubicBezTo>
                  <a:pt x="58" y="265"/>
                  <a:pt x="57" y="260"/>
                  <a:pt x="57" y="258"/>
                </a:cubicBezTo>
                <a:cubicBezTo>
                  <a:pt x="56" y="257"/>
                  <a:pt x="56" y="257"/>
                  <a:pt x="56" y="257"/>
                </a:cubicBezTo>
                <a:cubicBezTo>
                  <a:pt x="56" y="256"/>
                  <a:pt x="56" y="255"/>
                  <a:pt x="55" y="253"/>
                </a:cubicBezTo>
                <a:cubicBezTo>
                  <a:pt x="54" y="252"/>
                  <a:pt x="54" y="252"/>
                  <a:pt x="54" y="252"/>
                </a:cubicBezTo>
                <a:cubicBezTo>
                  <a:pt x="54" y="251"/>
                  <a:pt x="54" y="251"/>
                  <a:pt x="53" y="251"/>
                </a:cubicBezTo>
                <a:cubicBezTo>
                  <a:pt x="52" y="251"/>
                  <a:pt x="52" y="251"/>
                  <a:pt x="52" y="251"/>
                </a:cubicBezTo>
                <a:cubicBezTo>
                  <a:pt x="49" y="249"/>
                  <a:pt x="48" y="247"/>
                  <a:pt x="47" y="245"/>
                </a:cubicBezTo>
                <a:cubicBezTo>
                  <a:pt x="45" y="244"/>
                  <a:pt x="43" y="243"/>
                  <a:pt x="41" y="241"/>
                </a:cubicBezTo>
                <a:cubicBezTo>
                  <a:pt x="39" y="239"/>
                  <a:pt x="37" y="237"/>
                  <a:pt x="36" y="236"/>
                </a:cubicBezTo>
                <a:cubicBezTo>
                  <a:pt x="36" y="236"/>
                  <a:pt x="34" y="235"/>
                  <a:pt x="33" y="235"/>
                </a:cubicBezTo>
                <a:cubicBezTo>
                  <a:pt x="29" y="233"/>
                  <a:pt x="27" y="232"/>
                  <a:pt x="26" y="231"/>
                </a:cubicBezTo>
                <a:cubicBezTo>
                  <a:pt x="23" y="228"/>
                  <a:pt x="22" y="224"/>
                  <a:pt x="24" y="218"/>
                </a:cubicBezTo>
                <a:cubicBezTo>
                  <a:pt x="24" y="218"/>
                  <a:pt x="23" y="217"/>
                  <a:pt x="23" y="217"/>
                </a:cubicBezTo>
                <a:cubicBezTo>
                  <a:pt x="23" y="216"/>
                  <a:pt x="23" y="216"/>
                  <a:pt x="23" y="216"/>
                </a:cubicBezTo>
                <a:cubicBezTo>
                  <a:pt x="22" y="215"/>
                  <a:pt x="21" y="213"/>
                  <a:pt x="21" y="213"/>
                </a:cubicBezTo>
                <a:cubicBezTo>
                  <a:pt x="19" y="211"/>
                  <a:pt x="18" y="206"/>
                  <a:pt x="17" y="204"/>
                </a:cubicBezTo>
                <a:cubicBezTo>
                  <a:pt x="17" y="204"/>
                  <a:pt x="17" y="204"/>
                  <a:pt x="17" y="204"/>
                </a:cubicBezTo>
                <a:cubicBezTo>
                  <a:pt x="16" y="203"/>
                  <a:pt x="15" y="201"/>
                  <a:pt x="15" y="199"/>
                </a:cubicBezTo>
                <a:cubicBezTo>
                  <a:pt x="14" y="197"/>
                  <a:pt x="13" y="195"/>
                  <a:pt x="14" y="192"/>
                </a:cubicBezTo>
                <a:cubicBezTo>
                  <a:pt x="14" y="191"/>
                  <a:pt x="14" y="191"/>
                  <a:pt x="14" y="191"/>
                </a:cubicBezTo>
                <a:cubicBezTo>
                  <a:pt x="12" y="189"/>
                  <a:pt x="9" y="185"/>
                  <a:pt x="10" y="179"/>
                </a:cubicBezTo>
                <a:cubicBezTo>
                  <a:pt x="10" y="178"/>
                  <a:pt x="10" y="178"/>
                  <a:pt x="10" y="177"/>
                </a:cubicBezTo>
                <a:cubicBezTo>
                  <a:pt x="8" y="176"/>
                  <a:pt x="7" y="174"/>
                  <a:pt x="6" y="172"/>
                </a:cubicBezTo>
                <a:cubicBezTo>
                  <a:pt x="5" y="169"/>
                  <a:pt x="6" y="167"/>
                  <a:pt x="6" y="165"/>
                </a:cubicBezTo>
                <a:cubicBezTo>
                  <a:pt x="6" y="164"/>
                  <a:pt x="5" y="162"/>
                  <a:pt x="3" y="160"/>
                </a:cubicBezTo>
                <a:cubicBezTo>
                  <a:pt x="3" y="159"/>
                  <a:pt x="3" y="159"/>
                  <a:pt x="3" y="159"/>
                </a:cubicBezTo>
                <a:cubicBezTo>
                  <a:pt x="1" y="156"/>
                  <a:pt x="1" y="153"/>
                  <a:pt x="3" y="145"/>
                </a:cubicBezTo>
                <a:cubicBezTo>
                  <a:pt x="3" y="144"/>
                  <a:pt x="3" y="144"/>
                  <a:pt x="3" y="143"/>
                </a:cubicBezTo>
                <a:cubicBezTo>
                  <a:pt x="3" y="143"/>
                  <a:pt x="3" y="141"/>
                  <a:pt x="3" y="140"/>
                </a:cubicBezTo>
                <a:cubicBezTo>
                  <a:pt x="0" y="135"/>
                  <a:pt x="0" y="133"/>
                  <a:pt x="0" y="132"/>
                </a:cubicBezTo>
                <a:cubicBezTo>
                  <a:pt x="0" y="128"/>
                  <a:pt x="3" y="125"/>
                  <a:pt x="7" y="122"/>
                </a:cubicBezTo>
                <a:cubicBezTo>
                  <a:pt x="7" y="121"/>
                  <a:pt x="7" y="120"/>
                  <a:pt x="8" y="118"/>
                </a:cubicBezTo>
                <a:cubicBezTo>
                  <a:pt x="7" y="118"/>
                  <a:pt x="7" y="118"/>
                  <a:pt x="7" y="117"/>
                </a:cubicBezTo>
                <a:cubicBezTo>
                  <a:pt x="7" y="117"/>
                  <a:pt x="7" y="116"/>
                  <a:pt x="7" y="116"/>
                </a:cubicBezTo>
                <a:cubicBezTo>
                  <a:pt x="7" y="114"/>
                  <a:pt x="7" y="109"/>
                  <a:pt x="7" y="107"/>
                </a:cubicBezTo>
                <a:cubicBezTo>
                  <a:pt x="8" y="106"/>
                  <a:pt x="8" y="103"/>
                  <a:pt x="8" y="102"/>
                </a:cubicBezTo>
                <a:cubicBezTo>
                  <a:pt x="8" y="100"/>
                  <a:pt x="9" y="96"/>
                  <a:pt x="11" y="93"/>
                </a:cubicBezTo>
                <a:cubicBezTo>
                  <a:pt x="11" y="93"/>
                  <a:pt x="11" y="92"/>
                  <a:pt x="12" y="91"/>
                </a:cubicBezTo>
                <a:cubicBezTo>
                  <a:pt x="12" y="89"/>
                  <a:pt x="13" y="87"/>
                  <a:pt x="17" y="82"/>
                </a:cubicBezTo>
                <a:cubicBezTo>
                  <a:pt x="19" y="80"/>
                  <a:pt x="19" y="80"/>
                  <a:pt x="19" y="80"/>
                </a:cubicBezTo>
                <a:cubicBezTo>
                  <a:pt x="19" y="79"/>
                  <a:pt x="20" y="77"/>
                  <a:pt x="20" y="75"/>
                </a:cubicBezTo>
                <a:cubicBezTo>
                  <a:pt x="20" y="73"/>
                  <a:pt x="21" y="71"/>
                  <a:pt x="25" y="66"/>
                </a:cubicBezTo>
                <a:cubicBezTo>
                  <a:pt x="25" y="65"/>
                  <a:pt x="25" y="64"/>
                  <a:pt x="26" y="64"/>
                </a:cubicBezTo>
                <a:cubicBezTo>
                  <a:pt x="26" y="63"/>
                  <a:pt x="26" y="62"/>
                  <a:pt x="26" y="62"/>
                </a:cubicBezTo>
                <a:cubicBezTo>
                  <a:pt x="26" y="59"/>
                  <a:pt x="26" y="57"/>
                  <a:pt x="27" y="55"/>
                </a:cubicBezTo>
                <a:cubicBezTo>
                  <a:pt x="27" y="55"/>
                  <a:pt x="27" y="55"/>
                  <a:pt x="27" y="55"/>
                </a:cubicBezTo>
                <a:cubicBezTo>
                  <a:pt x="27" y="53"/>
                  <a:pt x="28" y="51"/>
                  <a:pt x="29" y="50"/>
                </a:cubicBezTo>
                <a:cubicBezTo>
                  <a:pt x="29" y="48"/>
                  <a:pt x="29" y="47"/>
                  <a:pt x="29" y="46"/>
                </a:cubicBezTo>
                <a:cubicBezTo>
                  <a:pt x="28" y="44"/>
                  <a:pt x="28" y="41"/>
                  <a:pt x="29" y="35"/>
                </a:cubicBezTo>
                <a:cubicBezTo>
                  <a:pt x="29" y="35"/>
                  <a:pt x="29" y="35"/>
                  <a:pt x="29" y="35"/>
                </a:cubicBezTo>
                <a:cubicBezTo>
                  <a:pt x="28" y="34"/>
                  <a:pt x="28" y="32"/>
                  <a:pt x="28" y="31"/>
                </a:cubicBezTo>
                <a:cubicBezTo>
                  <a:pt x="28" y="28"/>
                  <a:pt x="29" y="25"/>
                  <a:pt x="32" y="24"/>
                </a:cubicBezTo>
                <a:cubicBezTo>
                  <a:pt x="35" y="22"/>
                  <a:pt x="38" y="22"/>
                  <a:pt x="40" y="24"/>
                </a:cubicBezTo>
                <a:cubicBezTo>
                  <a:pt x="41" y="24"/>
                  <a:pt x="42" y="25"/>
                  <a:pt x="44" y="26"/>
                </a:cubicBezTo>
                <a:cubicBezTo>
                  <a:pt x="45" y="26"/>
                  <a:pt x="46" y="26"/>
                  <a:pt x="47" y="27"/>
                </a:cubicBezTo>
                <a:cubicBezTo>
                  <a:pt x="46" y="25"/>
                  <a:pt x="45" y="23"/>
                  <a:pt x="47" y="20"/>
                </a:cubicBezTo>
                <a:cubicBezTo>
                  <a:pt x="48" y="17"/>
                  <a:pt x="52" y="16"/>
                  <a:pt x="55" y="17"/>
                </a:cubicBezTo>
                <a:cubicBezTo>
                  <a:pt x="68" y="20"/>
                  <a:pt x="68" y="20"/>
                  <a:pt x="68" y="20"/>
                </a:cubicBezTo>
                <a:cubicBezTo>
                  <a:pt x="141" y="39"/>
                  <a:pt x="176" y="48"/>
                  <a:pt x="302" y="45"/>
                </a:cubicBezTo>
                <a:cubicBezTo>
                  <a:pt x="302" y="41"/>
                  <a:pt x="304" y="39"/>
                  <a:pt x="307" y="38"/>
                </a:cubicBezTo>
                <a:cubicBezTo>
                  <a:pt x="311" y="38"/>
                  <a:pt x="316" y="39"/>
                  <a:pt x="318" y="43"/>
                </a:cubicBezTo>
                <a:cubicBezTo>
                  <a:pt x="318" y="44"/>
                  <a:pt x="318" y="44"/>
                  <a:pt x="319" y="45"/>
                </a:cubicBezTo>
                <a:cubicBezTo>
                  <a:pt x="322" y="45"/>
                  <a:pt x="324" y="46"/>
                  <a:pt x="326" y="48"/>
                </a:cubicBezTo>
                <a:cubicBezTo>
                  <a:pt x="327" y="48"/>
                  <a:pt x="327" y="48"/>
                  <a:pt x="327" y="48"/>
                </a:cubicBezTo>
                <a:cubicBezTo>
                  <a:pt x="335" y="47"/>
                  <a:pt x="337" y="48"/>
                  <a:pt x="338" y="49"/>
                </a:cubicBezTo>
                <a:cubicBezTo>
                  <a:pt x="338" y="49"/>
                  <a:pt x="339" y="49"/>
                  <a:pt x="340" y="49"/>
                </a:cubicBezTo>
                <a:cubicBezTo>
                  <a:pt x="342" y="49"/>
                  <a:pt x="343" y="50"/>
                  <a:pt x="343" y="50"/>
                </a:cubicBezTo>
                <a:cubicBezTo>
                  <a:pt x="344" y="50"/>
                  <a:pt x="345" y="51"/>
                  <a:pt x="346" y="51"/>
                </a:cubicBezTo>
                <a:cubicBezTo>
                  <a:pt x="348" y="50"/>
                  <a:pt x="350" y="50"/>
                  <a:pt x="354" y="51"/>
                </a:cubicBezTo>
                <a:cubicBezTo>
                  <a:pt x="355" y="51"/>
                  <a:pt x="356" y="51"/>
                  <a:pt x="357" y="51"/>
                </a:cubicBezTo>
                <a:cubicBezTo>
                  <a:pt x="357" y="51"/>
                  <a:pt x="357" y="51"/>
                  <a:pt x="357" y="51"/>
                </a:cubicBezTo>
                <a:cubicBezTo>
                  <a:pt x="359" y="51"/>
                  <a:pt x="365" y="52"/>
                  <a:pt x="365" y="52"/>
                </a:cubicBezTo>
                <a:cubicBezTo>
                  <a:pt x="368" y="52"/>
                  <a:pt x="370" y="54"/>
                  <a:pt x="371" y="57"/>
                </a:cubicBezTo>
                <a:cubicBezTo>
                  <a:pt x="371" y="59"/>
                  <a:pt x="371" y="61"/>
                  <a:pt x="370" y="62"/>
                </a:cubicBezTo>
                <a:cubicBezTo>
                  <a:pt x="371" y="61"/>
                  <a:pt x="372" y="61"/>
                  <a:pt x="373" y="60"/>
                </a:cubicBezTo>
                <a:cubicBezTo>
                  <a:pt x="373" y="60"/>
                  <a:pt x="380" y="54"/>
                  <a:pt x="386" y="57"/>
                </a:cubicBezTo>
                <a:cubicBezTo>
                  <a:pt x="388" y="58"/>
                  <a:pt x="389" y="60"/>
                  <a:pt x="389" y="63"/>
                </a:cubicBezTo>
                <a:cubicBezTo>
                  <a:pt x="389" y="64"/>
                  <a:pt x="389" y="65"/>
                  <a:pt x="389" y="65"/>
                </a:cubicBezTo>
                <a:cubicBezTo>
                  <a:pt x="389" y="66"/>
                  <a:pt x="390" y="66"/>
                  <a:pt x="390" y="66"/>
                </a:cubicBezTo>
                <a:cubicBezTo>
                  <a:pt x="391" y="67"/>
                  <a:pt x="391" y="68"/>
                  <a:pt x="391" y="68"/>
                </a:cubicBezTo>
                <a:cubicBezTo>
                  <a:pt x="392" y="68"/>
                  <a:pt x="393" y="68"/>
                  <a:pt x="394" y="68"/>
                </a:cubicBezTo>
                <a:cubicBezTo>
                  <a:pt x="396" y="66"/>
                  <a:pt x="397" y="65"/>
                  <a:pt x="399" y="64"/>
                </a:cubicBezTo>
                <a:cubicBezTo>
                  <a:pt x="400" y="64"/>
                  <a:pt x="400" y="64"/>
                  <a:pt x="401" y="64"/>
                </a:cubicBezTo>
                <a:cubicBezTo>
                  <a:pt x="402" y="64"/>
                  <a:pt x="402" y="64"/>
                  <a:pt x="403" y="64"/>
                </a:cubicBezTo>
                <a:cubicBezTo>
                  <a:pt x="403" y="64"/>
                  <a:pt x="403" y="64"/>
                  <a:pt x="403" y="64"/>
                </a:cubicBezTo>
                <a:cubicBezTo>
                  <a:pt x="405" y="62"/>
                  <a:pt x="408" y="59"/>
                  <a:pt x="412" y="61"/>
                </a:cubicBezTo>
                <a:cubicBezTo>
                  <a:pt x="414" y="61"/>
                  <a:pt x="415" y="63"/>
                  <a:pt x="416" y="64"/>
                </a:cubicBezTo>
                <a:cubicBezTo>
                  <a:pt x="418" y="64"/>
                  <a:pt x="421" y="65"/>
                  <a:pt x="423" y="66"/>
                </a:cubicBezTo>
                <a:cubicBezTo>
                  <a:pt x="425" y="68"/>
                  <a:pt x="428" y="70"/>
                  <a:pt x="428" y="73"/>
                </a:cubicBezTo>
                <a:cubicBezTo>
                  <a:pt x="428" y="74"/>
                  <a:pt x="428" y="75"/>
                  <a:pt x="428" y="76"/>
                </a:cubicBezTo>
                <a:cubicBezTo>
                  <a:pt x="431" y="76"/>
                  <a:pt x="435" y="78"/>
                  <a:pt x="437" y="80"/>
                </a:cubicBezTo>
                <a:cubicBezTo>
                  <a:pt x="438" y="81"/>
                  <a:pt x="439" y="83"/>
                  <a:pt x="438" y="85"/>
                </a:cubicBezTo>
                <a:cubicBezTo>
                  <a:pt x="438" y="85"/>
                  <a:pt x="438" y="85"/>
                  <a:pt x="438" y="85"/>
                </a:cubicBezTo>
                <a:cubicBezTo>
                  <a:pt x="439" y="87"/>
                  <a:pt x="440" y="90"/>
                  <a:pt x="440" y="92"/>
                </a:cubicBezTo>
                <a:cubicBezTo>
                  <a:pt x="441" y="92"/>
                  <a:pt x="442" y="92"/>
                  <a:pt x="444" y="92"/>
                </a:cubicBezTo>
                <a:cubicBezTo>
                  <a:pt x="446" y="93"/>
                  <a:pt x="448" y="96"/>
                  <a:pt x="448" y="98"/>
                </a:cubicBezTo>
                <a:cubicBezTo>
                  <a:pt x="448" y="99"/>
                  <a:pt x="449" y="100"/>
                  <a:pt x="450" y="101"/>
                </a:cubicBezTo>
                <a:cubicBezTo>
                  <a:pt x="451" y="103"/>
                  <a:pt x="451" y="104"/>
                  <a:pt x="451" y="104"/>
                </a:cubicBezTo>
                <a:cubicBezTo>
                  <a:pt x="451" y="105"/>
                  <a:pt x="451" y="105"/>
                  <a:pt x="451" y="105"/>
                </a:cubicBezTo>
                <a:cubicBezTo>
                  <a:pt x="454" y="113"/>
                  <a:pt x="454" y="114"/>
                  <a:pt x="454" y="115"/>
                </a:cubicBezTo>
                <a:cubicBezTo>
                  <a:pt x="454" y="117"/>
                  <a:pt x="454" y="122"/>
                  <a:pt x="450" y="124"/>
                </a:cubicBezTo>
                <a:cubicBezTo>
                  <a:pt x="452" y="124"/>
                  <a:pt x="453" y="123"/>
                  <a:pt x="454" y="122"/>
                </a:cubicBezTo>
                <a:cubicBezTo>
                  <a:pt x="456" y="121"/>
                  <a:pt x="468" y="110"/>
                  <a:pt x="470" y="109"/>
                </a:cubicBezTo>
                <a:cubicBezTo>
                  <a:pt x="471" y="108"/>
                  <a:pt x="474" y="105"/>
                  <a:pt x="476" y="104"/>
                </a:cubicBezTo>
                <a:cubicBezTo>
                  <a:pt x="476" y="103"/>
                  <a:pt x="476" y="103"/>
                  <a:pt x="476" y="103"/>
                </a:cubicBezTo>
                <a:cubicBezTo>
                  <a:pt x="474" y="98"/>
                  <a:pt x="474" y="94"/>
                  <a:pt x="477" y="92"/>
                </a:cubicBezTo>
                <a:cubicBezTo>
                  <a:pt x="478" y="91"/>
                  <a:pt x="485" y="87"/>
                  <a:pt x="488" y="87"/>
                </a:cubicBezTo>
                <a:cubicBezTo>
                  <a:pt x="490" y="87"/>
                  <a:pt x="492" y="87"/>
                  <a:pt x="493" y="86"/>
                </a:cubicBezTo>
                <a:cubicBezTo>
                  <a:pt x="495" y="86"/>
                  <a:pt x="496" y="85"/>
                  <a:pt x="498" y="84"/>
                </a:cubicBezTo>
                <a:cubicBezTo>
                  <a:pt x="498" y="83"/>
                  <a:pt x="498" y="83"/>
                  <a:pt x="499" y="83"/>
                </a:cubicBezTo>
                <a:cubicBezTo>
                  <a:pt x="498" y="83"/>
                  <a:pt x="498" y="82"/>
                  <a:pt x="497" y="81"/>
                </a:cubicBezTo>
                <a:cubicBezTo>
                  <a:pt x="496" y="80"/>
                  <a:pt x="495" y="77"/>
                  <a:pt x="496" y="75"/>
                </a:cubicBezTo>
                <a:cubicBezTo>
                  <a:pt x="497" y="74"/>
                  <a:pt x="498" y="70"/>
                  <a:pt x="501" y="69"/>
                </a:cubicBezTo>
                <a:cubicBezTo>
                  <a:pt x="501" y="66"/>
                  <a:pt x="501" y="63"/>
                  <a:pt x="503" y="61"/>
                </a:cubicBezTo>
                <a:cubicBezTo>
                  <a:pt x="505" y="58"/>
                  <a:pt x="507" y="56"/>
                  <a:pt x="510" y="54"/>
                </a:cubicBezTo>
                <a:cubicBezTo>
                  <a:pt x="513" y="53"/>
                  <a:pt x="531" y="46"/>
                  <a:pt x="534" y="45"/>
                </a:cubicBezTo>
                <a:cubicBezTo>
                  <a:pt x="536" y="44"/>
                  <a:pt x="539" y="43"/>
                  <a:pt x="540" y="42"/>
                </a:cubicBezTo>
                <a:cubicBezTo>
                  <a:pt x="540" y="42"/>
                  <a:pt x="542" y="40"/>
                  <a:pt x="543" y="39"/>
                </a:cubicBezTo>
                <a:cubicBezTo>
                  <a:pt x="543" y="37"/>
                  <a:pt x="543" y="35"/>
                  <a:pt x="544" y="34"/>
                </a:cubicBezTo>
                <a:cubicBezTo>
                  <a:pt x="544" y="32"/>
                  <a:pt x="544" y="30"/>
                  <a:pt x="544" y="29"/>
                </a:cubicBezTo>
                <a:cubicBezTo>
                  <a:pt x="543" y="26"/>
                  <a:pt x="543" y="24"/>
                  <a:pt x="543" y="23"/>
                </a:cubicBezTo>
                <a:cubicBezTo>
                  <a:pt x="543" y="23"/>
                  <a:pt x="543" y="21"/>
                  <a:pt x="544" y="19"/>
                </a:cubicBezTo>
                <a:cubicBezTo>
                  <a:pt x="544" y="17"/>
                  <a:pt x="544" y="16"/>
                  <a:pt x="544" y="15"/>
                </a:cubicBezTo>
                <a:cubicBezTo>
                  <a:pt x="545" y="13"/>
                  <a:pt x="545" y="5"/>
                  <a:pt x="551" y="4"/>
                </a:cubicBezTo>
                <a:cubicBezTo>
                  <a:pt x="553" y="3"/>
                  <a:pt x="554" y="4"/>
                  <a:pt x="556" y="4"/>
                </a:cubicBezTo>
                <a:cubicBezTo>
                  <a:pt x="557" y="3"/>
                  <a:pt x="558" y="3"/>
                  <a:pt x="559" y="2"/>
                </a:cubicBezTo>
                <a:cubicBezTo>
                  <a:pt x="559" y="2"/>
                  <a:pt x="565" y="0"/>
                  <a:pt x="569" y="3"/>
                </a:cubicBezTo>
                <a:cubicBezTo>
                  <a:pt x="571" y="4"/>
                  <a:pt x="572" y="6"/>
                  <a:pt x="573" y="8"/>
                </a:cubicBezTo>
                <a:cubicBezTo>
                  <a:pt x="573" y="8"/>
                  <a:pt x="573" y="8"/>
                  <a:pt x="573" y="8"/>
                </a:cubicBezTo>
                <a:cubicBezTo>
                  <a:pt x="576" y="13"/>
                  <a:pt x="577" y="15"/>
                  <a:pt x="577" y="17"/>
                </a:cubicBezTo>
                <a:cubicBezTo>
                  <a:pt x="577" y="18"/>
                  <a:pt x="577" y="18"/>
                  <a:pt x="578" y="19"/>
                </a:cubicBezTo>
                <a:cubicBezTo>
                  <a:pt x="579" y="19"/>
                  <a:pt x="581" y="20"/>
                  <a:pt x="582" y="22"/>
                </a:cubicBezTo>
                <a:cubicBezTo>
                  <a:pt x="583" y="22"/>
                  <a:pt x="584" y="22"/>
                  <a:pt x="584" y="22"/>
                </a:cubicBezTo>
                <a:cubicBezTo>
                  <a:pt x="586" y="23"/>
                  <a:pt x="588" y="24"/>
                  <a:pt x="589" y="26"/>
                </a:cubicBezTo>
                <a:cubicBezTo>
                  <a:pt x="593" y="29"/>
                  <a:pt x="594" y="34"/>
                  <a:pt x="591" y="38"/>
                </a:cubicBezTo>
                <a:cubicBezTo>
                  <a:pt x="590" y="39"/>
                  <a:pt x="589" y="41"/>
                  <a:pt x="584" y="45"/>
                </a:cubicBezTo>
                <a:cubicBezTo>
                  <a:pt x="583" y="46"/>
                  <a:pt x="582" y="47"/>
                  <a:pt x="582" y="47"/>
                </a:cubicBezTo>
                <a:cubicBezTo>
                  <a:pt x="581" y="49"/>
                  <a:pt x="580" y="51"/>
                  <a:pt x="578" y="52"/>
                </a:cubicBezTo>
                <a:cubicBezTo>
                  <a:pt x="577" y="54"/>
                  <a:pt x="576" y="56"/>
                  <a:pt x="575" y="57"/>
                </a:cubicBezTo>
                <a:cubicBezTo>
                  <a:pt x="575" y="57"/>
                  <a:pt x="575" y="57"/>
                  <a:pt x="574" y="57"/>
                </a:cubicBezTo>
                <a:cubicBezTo>
                  <a:pt x="574" y="59"/>
                  <a:pt x="573" y="60"/>
                  <a:pt x="571" y="62"/>
                </a:cubicBezTo>
                <a:cubicBezTo>
                  <a:pt x="571" y="62"/>
                  <a:pt x="570" y="62"/>
                  <a:pt x="570" y="62"/>
                </a:cubicBezTo>
                <a:cubicBezTo>
                  <a:pt x="570" y="63"/>
                  <a:pt x="570" y="63"/>
                  <a:pt x="569" y="64"/>
                </a:cubicBezTo>
                <a:cubicBezTo>
                  <a:pt x="569" y="64"/>
                  <a:pt x="569" y="65"/>
                  <a:pt x="569" y="65"/>
                </a:cubicBezTo>
                <a:cubicBezTo>
                  <a:pt x="569" y="67"/>
                  <a:pt x="569" y="69"/>
                  <a:pt x="568" y="70"/>
                </a:cubicBezTo>
                <a:cubicBezTo>
                  <a:pt x="569" y="71"/>
                  <a:pt x="569" y="72"/>
                  <a:pt x="569" y="74"/>
                </a:cubicBezTo>
                <a:cubicBezTo>
                  <a:pt x="570" y="74"/>
                  <a:pt x="570" y="73"/>
                  <a:pt x="571" y="73"/>
                </a:cubicBezTo>
                <a:cubicBezTo>
                  <a:pt x="573" y="73"/>
                  <a:pt x="575" y="73"/>
                  <a:pt x="577" y="74"/>
                </a:cubicBezTo>
                <a:cubicBezTo>
                  <a:pt x="579" y="75"/>
                  <a:pt x="580" y="76"/>
                  <a:pt x="581" y="78"/>
                </a:cubicBezTo>
                <a:cubicBezTo>
                  <a:pt x="582" y="79"/>
                  <a:pt x="584" y="82"/>
                  <a:pt x="582" y="87"/>
                </a:cubicBezTo>
                <a:cubicBezTo>
                  <a:pt x="580" y="90"/>
                  <a:pt x="578" y="92"/>
                  <a:pt x="576" y="93"/>
                </a:cubicBezTo>
                <a:cubicBezTo>
                  <a:pt x="575" y="94"/>
                  <a:pt x="574" y="95"/>
                  <a:pt x="573" y="95"/>
                </a:cubicBezTo>
                <a:cubicBezTo>
                  <a:pt x="572" y="96"/>
                  <a:pt x="571" y="97"/>
                  <a:pt x="569" y="98"/>
                </a:cubicBezTo>
                <a:cubicBezTo>
                  <a:pt x="569" y="98"/>
                  <a:pt x="568" y="98"/>
                  <a:pt x="567" y="98"/>
                </a:cubicBezTo>
                <a:cubicBezTo>
                  <a:pt x="567" y="100"/>
                  <a:pt x="565" y="102"/>
                  <a:pt x="563" y="103"/>
                </a:cubicBezTo>
                <a:cubicBezTo>
                  <a:pt x="562" y="103"/>
                  <a:pt x="561" y="103"/>
                  <a:pt x="560" y="104"/>
                </a:cubicBezTo>
                <a:cubicBezTo>
                  <a:pt x="559" y="105"/>
                  <a:pt x="558" y="106"/>
                  <a:pt x="557" y="106"/>
                </a:cubicBezTo>
                <a:cubicBezTo>
                  <a:pt x="557" y="106"/>
                  <a:pt x="556" y="107"/>
                  <a:pt x="555" y="107"/>
                </a:cubicBezTo>
                <a:cubicBezTo>
                  <a:pt x="554" y="107"/>
                  <a:pt x="553" y="107"/>
                  <a:pt x="553" y="108"/>
                </a:cubicBezTo>
                <a:cubicBezTo>
                  <a:pt x="552" y="108"/>
                  <a:pt x="552" y="109"/>
                  <a:pt x="551" y="109"/>
                </a:cubicBezTo>
                <a:cubicBezTo>
                  <a:pt x="549" y="112"/>
                  <a:pt x="549" y="113"/>
                  <a:pt x="548" y="113"/>
                </a:cubicBezTo>
                <a:cubicBezTo>
                  <a:pt x="548" y="113"/>
                  <a:pt x="548" y="114"/>
                  <a:pt x="547" y="114"/>
                </a:cubicBezTo>
                <a:cubicBezTo>
                  <a:pt x="548" y="114"/>
                  <a:pt x="548" y="115"/>
                  <a:pt x="548" y="115"/>
                </a:cubicBezTo>
                <a:cubicBezTo>
                  <a:pt x="548" y="115"/>
                  <a:pt x="551" y="121"/>
                  <a:pt x="550" y="125"/>
                </a:cubicBezTo>
                <a:cubicBezTo>
                  <a:pt x="550" y="126"/>
                  <a:pt x="550" y="126"/>
                  <a:pt x="550" y="126"/>
                </a:cubicBezTo>
                <a:cubicBezTo>
                  <a:pt x="549" y="127"/>
                  <a:pt x="549" y="128"/>
                  <a:pt x="549" y="129"/>
                </a:cubicBezTo>
                <a:cubicBezTo>
                  <a:pt x="549" y="129"/>
                  <a:pt x="549" y="129"/>
                  <a:pt x="549" y="129"/>
                </a:cubicBezTo>
                <a:cubicBezTo>
                  <a:pt x="549" y="131"/>
                  <a:pt x="548" y="132"/>
                  <a:pt x="548" y="133"/>
                </a:cubicBezTo>
                <a:cubicBezTo>
                  <a:pt x="548" y="133"/>
                  <a:pt x="548" y="136"/>
                  <a:pt x="547" y="137"/>
                </a:cubicBezTo>
                <a:cubicBezTo>
                  <a:pt x="547" y="138"/>
                  <a:pt x="547" y="138"/>
                  <a:pt x="547" y="138"/>
                </a:cubicBezTo>
                <a:cubicBezTo>
                  <a:pt x="546" y="141"/>
                  <a:pt x="545" y="142"/>
                  <a:pt x="545" y="143"/>
                </a:cubicBezTo>
                <a:cubicBezTo>
                  <a:pt x="545" y="143"/>
                  <a:pt x="545" y="143"/>
                  <a:pt x="545" y="143"/>
                </a:cubicBezTo>
                <a:cubicBezTo>
                  <a:pt x="545" y="144"/>
                  <a:pt x="545" y="145"/>
                  <a:pt x="545" y="146"/>
                </a:cubicBezTo>
                <a:cubicBezTo>
                  <a:pt x="545" y="146"/>
                  <a:pt x="545" y="147"/>
                  <a:pt x="545" y="148"/>
                </a:cubicBezTo>
                <a:cubicBezTo>
                  <a:pt x="544" y="151"/>
                  <a:pt x="544" y="152"/>
                  <a:pt x="544" y="153"/>
                </a:cubicBezTo>
                <a:cubicBezTo>
                  <a:pt x="544" y="154"/>
                  <a:pt x="544" y="155"/>
                  <a:pt x="544" y="155"/>
                </a:cubicBezTo>
                <a:cubicBezTo>
                  <a:pt x="544" y="156"/>
                  <a:pt x="544" y="157"/>
                  <a:pt x="544" y="158"/>
                </a:cubicBezTo>
                <a:cubicBezTo>
                  <a:pt x="544" y="159"/>
                  <a:pt x="544" y="159"/>
                  <a:pt x="544" y="159"/>
                </a:cubicBezTo>
                <a:cubicBezTo>
                  <a:pt x="544" y="161"/>
                  <a:pt x="543" y="164"/>
                  <a:pt x="541" y="167"/>
                </a:cubicBezTo>
                <a:cubicBezTo>
                  <a:pt x="541" y="167"/>
                  <a:pt x="540" y="168"/>
                  <a:pt x="540" y="168"/>
                </a:cubicBezTo>
                <a:cubicBezTo>
                  <a:pt x="540" y="168"/>
                  <a:pt x="540" y="168"/>
                  <a:pt x="540" y="168"/>
                </a:cubicBezTo>
                <a:cubicBezTo>
                  <a:pt x="540" y="169"/>
                  <a:pt x="542" y="172"/>
                  <a:pt x="542" y="172"/>
                </a:cubicBezTo>
                <a:cubicBezTo>
                  <a:pt x="544" y="174"/>
                  <a:pt x="545" y="176"/>
                  <a:pt x="545" y="178"/>
                </a:cubicBezTo>
                <a:cubicBezTo>
                  <a:pt x="546" y="179"/>
                  <a:pt x="546" y="179"/>
                  <a:pt x="546" y="179"/>
                </a:cubicBezTo>
                <a:cubicBezTo>
                  <a:pt x="548" y="181"/>
                  <a:pt x="550" y="184"/>
                  <a:pt x="549" y="187"/>
                </a:cubicBezTo>
                <a:cubicBezTo>
                  <a:pt x="549" y="189"/>
                  <a:pt x="547" y="194"/>
                  <a:pt x="545" y="197"/>
                </a:cubicBezTo>
                <a:cubicBezTo>
                  <a:pt x="546" y="199"/>
                  <a:pt x="546" y="201"/>
                  <a:pt x="545" y="203"/>
                </a:cubicBezTo>
                <a:cubicBezTo>
                  <a:pt x="545" y="204"/>
                  <a:pt x="544" y="208"/>
                  <a:pt x="540" y="209"/>
                </a:cubicBezTo>
                <a:cubicBezTo>
                  <a:pt x="539" y="210"/>
                  <a:pt x="536" y="211"/>
                  <a:pt x="536" y="211"/>
                </a:cubicBezTo>
                <a:cubicBezTo>
                  <a:pt x="535" y="212"/>
                  <a:pt x="533" y="215"/>
                  <a:pt x="532" y="217"/>
                </a:cubicBezTo>
                <a:cubicBezTo>
                  <a:pt x="530" y="222"/>
                  <a:pt x="529" y="225"/>
                  <a:pt x="526" y="226"/>
                </a:cubicBezTo>
                <a:cubicBezTo>
                  <a:pt x="526" y="226"/>
                  <a:pt x="525" y="226"/>
                  <a:pt x="524" y="227"/>
                </a:cubicBezTo>
                <a:cubicBezTo>
                  <a:pt x="524" y="227"/>
                  <a:pt x="524" y="227"/>
                  <a:pt x="523" y="227"/>
                </a:cubicBezTo>
                <a:cubicBezTo>
                  <a:pt x="523" y="228"/>
                  <a:pt x="523" y="228"/>
                  <a:pt x="523" y="228"/>
                </a:cubicBezTo>
                <a:cubicBezTo>
                  <a:pt x="520" y="234"/>
                  <a:pt x="519" y="236"/>
                  <a:pt x="518" y="237"/>
                </a:cubicBezTo>
                <a:cubicBezTo>
                  <a:pt x="517" y="238"/>
                  <a:pt x="517" y="238"/>
                  <a:pt x="517" y="238"/>
                </a:cubicBezTo>
                <a:cubicBezTo>
                  <a:pt x="515" y="241"/>
                  <a:pt x="514" y="244"/>
                  <a:pt x="513" y="245"/>
                </a:cubicBezTo>
                <a:cubicBezTo>
                  <a:pt x="512" y="245"/>
                  <a:pt x="512" y="245"/>
                  <a:pt x="512" y="246"/>
                </a:cubicBezTo>
                <a:cubicBezTo>
                  <a:pt x="512" y="247"/>
                  <a:pt x="511" y="249"/>
                  <a:pt x="509" y="251"/>
                </a:cubicBezTo>
                <a:cubicBezTo>
                  <a:pt x="508" y="251"/>
                  <a:pt x="507" y="252"/>
                  <a:pt x="505" y="253"/>
                </a:cubicBezTo>
                <a:cubicBezTo>
                  <a:pt x="505" y="253"/>
                  <a:pt x="504" y="254"/>
                  <a:pt x="504" y="254"/>
                </a:cubicBezTo>
                <a:cubicBezTo>
                  <a:pt x="504" y="254"/>
                  <a:pt x="503" y="254"/>
                  <a:pt x="503" y="254"/>
                </a:cubicBezTo>
                <a:cubicBezTo>
                  <a:pt x="503" y="255"/>
                  <a:pt x="503" y="255"/>
                  <a:pt x="503" y="255"/>
                </a:cubicBezTo>
                <a:cubicBezTo>
                  <a:pt x="503" y="258"/>
                  <a:pt x="502" y="260"/>
                  <a:pt x="501" y="262"/>
                </a:cubicBezTo>
                <a:cubicBezTo>
                  <a:pt x="501" y="263"/>
                  <a:pt x="500" y="265"/>
                  <a:pt x="500" y="266"/>
                </a:cubicBezTo>
                <a:cubicBezTo>
                  <a:pt x="499" y="267"/>
                  <a:pt x="499" y="269"/>
                  <a:pt x="499" y="270"/>
                </a:cubicBezTo>
                <a:cubicBezTo>
                  <a:pt x="500" y="270"/>
                  <a:pt x="500" y="270"/>
                  <a:pt x="500" y="270"/>
                </a:cubicBezTo>
                <a:cubicBezTo>
                  <a:pt x="500" y="273"/>
                  <a:pt x="501" y="276"/>
                  <a:pt x="501" y="278"/>
                </a:cubicBezTo>
                <a:cubicBezTo>
                  <a:pt x="502" y="280"/>
                  <a:pt x="502" y="281"/>
                  <a:pt x="502" y="283"/>
                </a:cubicBezTo>
                <a:cubicBezTo>
                  <a:pt x="502" y="283"/>
                  <a:pt x="503" y="284"/>
                  <a:pt x="503" y="285"/>
                </a:cubicBezTo>
                <a:cubicBezTo>
                  <a:pt x="503" y="286"/>
                  <a:pt x="503" y="286"/>
                  <a:pt x="504" y="286"/>
                </a:cubicBezTo>
                <a:cubicBezTo>
                  <a:pt x="505" y="288"/>
                  <a:pt x="507" y="289"/>
                  <a:pt x="507" y="291"/>
                </a:cubicBezTo>
                <a:cubicBezTo>
                  <a:pt x="507" y="292"/>
                  <a:pt x="508" y="293"/>
                  <a:pt x="508" y="293"/>
                </a:cubicBezTo>
                <a:cubicBezTo>
                  <a:pt x="509" y="294"/>
                  <a:pt x="511" y="296"/>
                  <a:pt x="512" y="297"/>
                </a:cubicBezTo>
                <a:cubicBezTo>
                  <a:pt x="513" y="298"/>
                  <a:pt x="514" y="299"/>
                  <a:pt x="516" y="302"/>
                </a:cubicBezTo>
                <a:cubicBezTo>
                  <a:pt x="517" y="305"/>
                  <a:pt x="518" y="308"/>
                  <a:pt x="517" y="311"/>
                </a:cubicBezTo>
                <a:cubicBezTo>
                  <a:pt x="517" y="311"/>
                  <a:pt x="517" y="311"/>
                  <a:pt x="517" y="311"/>
                </a:cubicBezTo>
                <a:cubicBezTo>
                  <a:pt x="521" y="315"/>
                  <a:pt x="522" y="317"/>
                  <a:pt x="523" y="319"/>
                </a:cubicBezTo>
                <a:cubicBezTo>
                  <a:pt x="523" y="319"/>
                  <a:pt x="523" y="320"/>
                  <a:pt x="523" y="320"/>
                </a:cubicBezTo>
                <a:cubicBezTo>
                  <a:pt x="523" y="320"/>
                  <a:pt x="523" y="321"/>
                  <a:pt x="523" y="321"/>
                </a:cubicBezTo>
                <a:cubicBezTo>
                  <a:pt x="525" y="324"/>
                  <a:pt x="526" y="326"/>
                  <a:pt x="526" y="327"/>
                </a:cubicBezTo>
                <a:cubicBezTo>
                  <a:pt x="527" y="334"/>
                  <a:pt x="527" y="336"/>
                  <a:pt x="527" y="337"/>
                </a:cubicBezTo>
                <a:cubicBezTo>
                  <a:pt x="527" y="338"/>
                  <a:pt x="527" y="338"/>
                  <a:pt x="527" y="338"/>
                </a:cubicBezTo>
                <a:cubicBezTo>
                  <a:pt x="526" y="341"/>
                  <a:pt x="526" y="344"/>
                  <a:pt x="525" y="346"/>
                </a:cubicBezTo>
                <a:cubicBezTo>
                  <a:pt x="526" y="348"/>
                  <a:pt x="526" y="351"/>
                  <a:pt x="524" y="353"/>
                </a:cubicBezTo>
                <a:cubicBezTo>
                  <a:pt x="523" y="356"/>
                  <a:pt x="521" y="358"/>
                  <a:pt x="518" y="358"/>
                </a:cubicBezTo>
                <a:cubicBezTo>
                  <a:pt x="517" y="360"/>
                  <a:pt x="515" y="361"/>
                  <a:pt x="513" y="361"/>
                </a:cubicBezTo>
                <a:cubicBezTo>
                  <a:pt x="511" y="361"/>
                  <a:pt x="507" y="361"/>
                  <a:pt x="504" y="357"/>
                </a:cubicBezTo>
                <a:cubicBezTo>
                  <a:pt x="504" y="356"/>
                  <a:pt x="504" y="355"/>
                  <a:pt x="504" y="354"/>
                </a:cubicBezTo>
                <a:cubicBezTo>
                  <a:pt x="504" y="354"/>
                  <a:pt x="504" y="354"/>
                  <a:pt x="503" y="354"/>
                </a:cubicBezTo>
                <a:cubicBezTo>
                  <a:pt x="503" y="353"/>
                  <a:pt x="502" y="353"/>
                  <a:pt x="502" y="351"/>
                </a:cubicBezTo>
                <a:cubicBezTo>
                  <a:pt x="498" y="351"/>
                  <a:pt x="496" y="347"/>
                  <a:pt x="495" y="344"/>
                </a:cubicBezTo>
                <a:cubicBezTo>
                  <a:pt x="495" y="344"/>
                  <a:pt x="494" y="343"/>
                  <a:pt x="494" y="343"/>
                </a:cubicBezTo>
                <a:cubicBezTo>
                  <a:pt x="493" y="341"/>
                  <a:pt x="492" y="341"/>
                  <a:pt x="492" y="340"/>
                </a:cubicBezTo>
                <a:cubicBezTo>
                  <a:pt x="491" y="340"/>
                  <a:pt x="491" y="340"/>
                  <a:pt x="491" y="340"/>
                </a:cubicBezTo>
                <a:cubicBezTo>
                  <a:pt x="488" y="340"/>
                  <a:pt x="486" y="337"/>
                  <a:pt x="483" y="332"/>
                </a:cubicBezTo>
                <a:cubicBezTo>
                  <a:pt x="482" y="332"/>
                  <a:pt x="482" y="332"/>
                  <a:pt x="482" y="332"/>
                </a:cubicBezTo>
                <a:cubicBezTo>
                  <a:pt x="482" y="331"/>
                  <a:pt x="481" y="330"/>
                  <a:pt x="481" y="329"/>
                </a:cubicBezTo>
                <a:cubicBezTo>
                  <a:pt x="480" y="328"/>
                  <a:pt x="480" y="327"/>
                  <a:pt x="480" y="326"/>
                </a:cubicBezTo>
                <a:cubicBezTo>
                  <a:pt x="478" y="325"/>
                  <a:pt x="476" y="322"/>
                  <a:pt x="476" y="319"/>
                </a:cubicBezTo>
                <a:cubicBezTo>
                  <a:pt x="476" y="318"/>
                  <a:pt x="475" y="312"/>
                  <a:pt x="475" y="310"/>
                </a:cubicBezTo>
                <a:cubicBezTo>
                  <a:pt x="475" y="309"/>
                  <a:pt x="474" y="309"/>
                  <a:pt x="473" y="308"/>
                </a:cubicBezTo>
                <a:cubicBezTo>
                  <a:pt x="472" y="308"/>
                  <a:pt x="471" y="307"/>
                  <a:pt x="470" y="307"/>
                </a:cubicBezTo>
                <a:cubicBezTo>
                  <a:pt x="470" y="307"/>
                  <a:pt x="470" y="307"/>
                  <a:pt x="470" y="307"/>
                </a:cubicBezTo>
                <a:cubicBezTo>
                  <a:pt x="467" y="306"/>
                  <a:pt x="466" y="304"/>
                  <a:pt x="464" y="301"/>
                </a:cubicBezTo>
                <a:cubicBezTo>
                  <a:pt x="463" y="303"/>
                  <a:pt x="461" y="303"/>
                  <a:pt x="461" y="304"/>
                </a:cubicBezTo>
                <a:cubicBezTo>
                  <a:pt x="460" y="304"/>
                  <a:pt x="461" y="304"/>
                  <a:pt x="461" y="303"/>
                </a:cubicBezTo>
                <a:cubicBezTo>
                  <a:pt x="459" y="305"/>
                  <a:pt x="455" y="307"/>
                  <a:pt x="453" y="307"/>
                </a:cubicBezTo>
                <a:cubicBezTo>
                  <a:pt x="453" y="307"/>
                  <a:pt x="452" y="307"/>
                  <a:pt x="452" y="307"/>
                </a:cubicBezTo>
                <a:cubicBezTo>
                  <a:pt x="447" y="309"/>
                  <a:pt x="443" y="304"/>
                  <a:pt x="442" y="303"/>
                </a:cubicBezTo>
                <a:cubicBezTo>
                  <a:pt x="441" y="303"/>
                  <a:pt x="441" y="302"/>
                  <a:pt x="441" y="302"/>
                </a:cubicBezTo>
                <a:cubicBezTo>
                  <a:pt x="441" y="302"/>
                  <a:pt x="441" y="302"/>
                  <a:pt x="441" y="302"/>
                </a:cubicBezTo>
                <a:cubicBezTo>
                  <a:pt x="439" y="302"/>
                  <a:pt x="437" y="302"/>
                  <a:pt x="435" y="301"/>
                </a:cubicBezTo>
                <a:cubicBezTo>
                  <a:pt x="433" y="302"/>
                  <a:pt x="431" y="303"/>
                  <a:pt x="429" y="302"/>
                </a:cubicBezTo>
                <a:cubicBezTo>
                  <a:pt x="427" y="304"/>
                  <a:pt x="424" y="306"/>
                  <a:pt x="422" y="306"/>
                </a:cubicBezTo>
                <a:cubicBezTo>
                  <a:pt x="419" y="306"/>
                  <a:pt x="417" y="306"/>
                  <a:pt x="416" y="305"/>
                </a:cubicBezTo>
                <a:cubicBezTo>
                  <a:pt x="415" y="305"/>
                  <a:pt x="415" y="305"/>
                  <a:pt x="415" y="305"/>
                </a:cubicBezTo>
                <a:cubicBezTo>
                  <a:pt x="414" y="305"/>
                  <a:pt x="413" y="305"/>
                  <a:pt x="413" y="306"/>
                </a:cubicBezTo>
                <a:cubicBezTo>
                  <a:pt x="412" y="306"/>
                  <a:pt x="410" y="306"/>
                  <a:pt x="408" y="307"/>
                </a:cubicBezTo>
                <a:cubicBezTo>
                  <a:pt x="409" y="307"/>
                  <a:pt x="409" y="308"/>
                  <a:pt x="409" y="309"/>
                </a:cubicBezTo>
                <a:cubicBezTo>
                  <a:pt x="409" y="310"/>
                  <a:pt x="408" y="311"/>
                  <a:pt x="408" y="312"/>
                </a:cubicBezTo>
                <a:cubicBezTo>
                  <a:pt x="408" y="313"/>
                  <a:pt x="408" y="313"/>
                  <a:pt x="408" y="313"/>
                </a:cubicBezTo>
                <a:cubicBezTo>
                  <a:pt x="409" y="314"/>
                  <a:pt x="412" y="316"/>
                  <a:pt x="412" y="320"/>
                </a:cubicBezTo>
                <a:cubicBezTo>
                  <a:pt x="412" y="322"/>
                  <a:pt x="411" y="324"/>
                  <a:pt x="409" y="325"/>
                </a:cubicBezTo>
                <a:cubicBezTo>
                  <a:pt x="405" y="328"/>
                  <a:pt x="400" y="328"/>
                  <a:pt x="397" y="325"/>
                </a:cubicBezTo>
                <a:cubicBezTo>
                  <a:pt x="397" y="325"/>
                  <a:pt x="397" y="325"/>
                  <a:pt x="397" y="325"/>
                </a:cubicBezTo>
                <a:cubicBezTo>
                  <a:pt x="396" y="326"/>
                  <a:pt x="395" y="327"/>
                  <a:pt x="394" y="327"/>
                </a:cubicBezTo>
                <a:cubicBezTo>
                  <a:pt x="392" y="327"/>
                  <a:pt x="391" y="327"/>
                  <a:pt x="389" y="327"/>
                </a:cubicBezTo>
                <a:cubicBezTo>
                  <a:pt x="389" y="327"/>
                  <a:pt x="389" y="327"/>
                  <a:pt x="389" y="327"/>
                </a:cubicBezTo>
                <a:cubicBezTo>
                  <a:pt x="386" y="330"/>
                  <a:pt x="382" y="331"/>
                  <a:pt x="378" y="329"/>
                </a:cubicBezTo>
                <a:cubicBezTo>
                  <a:pt x="375" y="327"/>
                  <a:pt x="373" y="325"/>
                  <a:pt x="372" y="323"/>
                </a:cubicBezTo>
                <a:cubicBezTo>
                  <a:pt x="372" y="323"/>
                  <a:pt x="372" y="323"/>
                  <a:pt x="372" y="323"/>
                </a:cubicBezTo>
                <a:cubicBezTo>
                  <a:pt x="371" y="324"/>
                  <a:pt x="370" y="325"/>
                  <a:pt x="368" y="326"/>
                </a:cubicBezTo>
                <a:cubicBezTo>
                  <a:pt x="366" y="326"/>
                  <a:pt x="364" y="326"/>
                  <a:pt x="360" y="325"/>
                </a:cubicBezTo>
                <a:cubicBezTo>
                  <a:pt x="359" y="325"/>
                  <a:pt x="358" y="324"/>
                  <a:pt x="357" y="324"/>
                </a:cubicBezTo>
                <a:cubicBezTo>
                  <a:pt x="356" y="324"/>
                  <a:pt x="355" y="323"/>
                  <a:pt x="355" y="323"/>
                </a:cubicBezTo>
                <a:cubicBezTo>
                  <a:pt x="352" y="324"/>
                  <a:pt x="350" y="325"/>
                  <a:pt x="349" y="325"/>
                </a:cubicBezTo>
                <a:cubicBezTo>
                  <a:pt x="349" y="325"/>
                  <a:pt x="349" y="325"/>
                  <a:pt x="349" y="325"/>
                </a:cubicBezTo>
                <a:cubicBezTo>
                  <a:pt x="349" y="325"/>
                  <a:pt x="342" y="328"/>
                  <a:pt x="337" y="329"/>
                </a:cubicBezTo>
                <a:cubicBezTo>
                  <a:pt x="337" y="329"/>
                  <a:pt x="337" y="330"/>
                  <a:pt x="336" y="330"/>
                </a:cubicBezTo>
                <a:cubicBezTo>
                  <a:pt x="336" y="330"/>
                  <a:pt x="336" y="331"/>
                  <a:pt x="335" y="331"/>
                </a:cubicBezTo>
                <a:cubicBezTo>
                  <a:pt x="334" y="332"/>
                  <a:pt x="334" y="333"/>
                  <a:pt x="333" y="334"/>
                </a:cubicBezTo>
                <a:cubicBezTo>
                  <a:pt x="331" y="337"/>
                  <a:pt x="328" y="340"/>
                  <a:pt x="325" y="340"/>
                </a:cubicBezTo>
                <a:cubicBezTo>
                  <a:pt x="324" y="340"/>
                  <a:pt x="322" y="341"/>
                  <a:pt x="321" y="341"/>
                </a:cubicBezTo>
                <a:cubicBezTo>
                  <a:pt x="320" y="341"/>
                  <a:pt x="320" y="341"/>
                  <a:pt x="320" y="341"/>
                </a:cubicBezTo>
                <a:cubicBezTo>
                  <a:pt x="320" y="341"/>
                  <a:pt x="320" y="341"/>
                  <a:pt x="320" y="341"/>
                </a:cubicBezTo>
                <a:cubicBezTo>
                  <a:pt x="319" y="343"/>
                  <a:pt x="317" y="344"/>
                  <a:pt x="315" y="345"/>
                </a:cubicBezTo>
                <a:cubicBezTo>
                  <a:pt x="314" y="347"/>
                  <a:pt x="313" y="348"/>
                  <a:pt x="312" y="348"/>
                </a:cubicBezTo>
                <a:cubicBezTo>
                  <a:pt x="311" y="349"/>
                  <a:pt x="311" y="349"/>
                  <a:pt x="311" y="350"/>
                </a:cubicBezTo>
                <a:cubicBezTo>
                  <a:pt x="311" y="351"/>
                  <a:pt x="310" y="351"/>
                  <a:pt x="310" y="352"/>
                </a:cubicBezTo>
                <a:cubicBezTo>
                  <a:pt x="310" y="353"/>
                  <a:pt x="310" y="354"/>
                  <a:pt x="309" y="355"/>
                </a:cubicBezTo>
                <a:cubicBezTo>
                  <a:pt x="309" y="355"/>
                  <a:pt x="309" y="356"/>
                  <a:pt x="309" y="356"/>
                </a:cubicBezTo>
                <a:cubicBezTo>
                  <a:pt x="309" y="357"/>
                  <a:pt x="309" y="357"/>
                  <a:pt x="309" y="358"/>
                </a:cubicBezTo>
                <a:cubicBezTo>
                  <a:pt x="309" y="360"/>
                  <a:pt x="309" y="361"/>
                  <a:pt x="308" y="362"/>
                </a:cubicBezTo>
                <a:cubicBezTo>
                  <a:pt x="308" y="362"/>
                  <a:pt x="308" y="362"/>
                  <a:pt x="308" y="362"/>
                </a:cubicBezTo>
                <a:cubicBezTo>
                  <a:pt x="309" y="363"/>
                  <a:pt x="309" y="364"/>
                  <a:pt x="309" y="365"/>
                </a:cubicBezTo>
                <a:cubicBezTo>
                  <a:pt x="309" y="366"/>
                  <a:pt x="309" y="366"/>
                  <a:pt x="309" y="366"/>
                </a:cubicBezTo>
                <a:cubicBezTo>
                  <a:pt x="309" y="366"/>
                  <a:pt x="309" y="367"/>
                  <a:pt x="309" y="368"/>
                </a:cubicBezTo>
                <a:cubicBezTo>
                  <a:pt x="309" y="368"/>
                  <a:pt x="309" y="368"/>
                  <a:pt x="309" y="369"/>
                </a:cubicBezTo>
                <a:cubicBezTo>
                  <a:pt x="311" y="370"/>
                  <a:pt x="313" y="372"/>
                  <a:pt x="314" y="375"/>
                </a:cubicBezTo>
                <a:cubicBezTo>
                  <a:pt x="314" y="377"/>
                  <a:pt x="313" y="380"/>
                  <a:pt x="311" y="381"/>
                </a:cubicBezTo>
                <a:cubicBezTo>
                  <a:pt x="311" y="381"/>
                  <a:pt x="311" y="381"/>
                  <a:pt x="311" y="381"/>
                </a:cubicBezTo>
                <a:cubicBezTo>
                  <a:pt x="309" y="382"/>
                  <a:pt x="307" y="383"/>
                  <a:pt x="305" y="383"/>
                </a:cubicBezTo>
                <a:close/>
                <a:moveTo>
                  <a:pt x="287" y="365"/>
                </a:moveTo>
                <a:cubicBezTo>
                  <a:pt x="288" y="365"/>
                  <a:pt x="290" y="366"/>
                  <a:pt x="296" y="368"/>
                </a:cubicBezTo>
                <a:cubicBezTo>
                  <a:pt x="296" y="367"/>
                  <a:pt x="296" y="367"/>
                  <a:pt x="296" y="367"/>
                </a:cubicBezTo>
                <a:cubicBezTo>
                  <a:pt x="296" y="367"/>
                  <a:pt x="295" y="366"/>
                  <a:pt x="295" y="365"/>
                </a:cubicBezTo>
                <a:cubicBezTo>
                  <a:pt x="295" y="364"/>
                  <a:pt x="295" y="363"/>
                  <a:pt x="295" y="361"/>
                </a:cubicBezTo>
                <a:cubicBezTo>
                  <a:pt x="294" y="360"/>
                  <a:pt x="293" y="359"/>
                  <a:pt x="293" y="357"/>
                </a:cubicBezTo>
                <a:cubicBezTo>
                  <a:pt x="292" y="354"/>
                  <a:pt x="294" y="352"/>
                  <a:pt x="295" y="351"/>
                </a:cubicBezTo>
                <a:cubicBezTo>
                  <a:pt x="295" y="349"/>
                  <a:pt x="295" y="348"/>
                  <a:pt x="295" y="346"/>
                </a:cubicBezTo>
                <a:cubicBezTo>
                  <a:pt x="296" y="345"/>
                  <a:pt x="296" y="344"/>
                  <a:pt x="297" y="343"/>
                </a:cubicBezTo>
                <a:cubicBezTo>
                  <a:pt x="298" y="342"/>
                  <a:pt x="298" y="340"/>
                  <a:pt x="299" y="339"/>
                </a:cubicBezTo>
                <a:cubicBezTo>
                  <a:pt x="300" y="338"/>
                  <a:pt x="302" y="337"/>
                  <a:pt x="304" y="336"/>
                </a:cubicBezTo>
                <a:cubicBezTo>
                  <a:pt x="304" y="335"/>
                  <a:pt x="305" y="334"/>
                  <a:pt x="306" y="333"/>
                </a:cubicBezTo>
                <a:cubicBezTo>
                  <a:pt x="307" y="332"/>
                  <a:pt x="308" y="332"/>
                  <a:pt x="308" y="332"/>
                </a:cubicBezTo>
                <a:cubicBezTo>
                  <a:pt x="310" y="329"/>
                  <a:pt x="313" y="328"/>
                  <a:pt x="317" y="328"/>
                </a:cubicBezTo>
                <a:cubicBezTo>
                  <a:pt x="318" y="328"/>
                  <a:pt x="319" y="328"/>
                  <a:pt x="319" y="327"/>
                </a:cubicBezTo>
                <a:cubicBezTo>
                  <a:pt x="320" y="327"/>
                  <a:pt x="321" y="327"/>
                  <a:pt x="321" y="327"/>
                </a:cubicBezTo>
                <a:cubicBezTo>
                  <a:pt x="322" y="327"/>
                  <a:pt x="322" y="326"/>
                  <a:pt x="323" y="326"/>
                </a:cubicBezTo>
                <a:cubicBezTo>
                  <a:pt x="322" y="326"/>
                  <a:pt x="323" y="325"/>
                  <a:pt x="323" y="325"/>
                </a:cubicBezTo>
                <a:cubicBezTo>
                  <a:pt x="323" y="323"/>
                  <a:pt x="325" y="322"/>
                  <a:pt x="326" y="321"/>
                </a:cubicBezTo>
                <a:cubicBezTo>
                  <a:pt x="326" y="317"/>
                  <a:pt x="329" y="314"/>
                  <a:pt x="331" y="313"/>
                </a:cubicBezTo>
                <a:cubicBezTo>
                  <a:pt x="333" y="312"/>
                  <a:pt x="335" y="312"/>
                  <a:pt x="337" y="312"/>
                </a:cubicBezTo>
                <a:cubicBezTo>
                  <a:pt x="338" y="313"/>
                  <a:pt x="339" y="313"/>
                  <a:pt x="340" y="314"/>
                </a:cubicBezTo>
                <a:cubicBezTo>
                  <a:pt x="341" y="314"/>
                  <a:pt x="342" y="314"/>
                  <a:pt x="342" y="313"/>
                </a:cubicBezTo>
                <a:cubicBezTo>
                  <a:pt x="344" y="312"/>
                  <a:pt x="347" y="312"/>
                  <a:pt x="351" y="310"/>
                </a:cubicBezTo>
                <a:cubicBezTo>
                  <a:pt x="352" y="310"/>
                  <a:pt x="352" y="310"/>
                  <a:pt x="352" y="310"/>
                </a:cubicBezTo>
                <a:cubicBezTo>
                  <a:pt x="355" y="309"/>
                  <a:pt x="358" y="310"/>
                  <a:pt x="361" y="311"/>
                </a:cubicBezTo>
                <a:cubicBezTo>
                  <a:pt x="362" y="312"/>
                  <a:pt x="362" y="312"/>
                  <a:pt x="362" y="312"/>
                </a:cubicBezTo>
                <a:cubicBezTo>
                  <a:pt x="363" y="310"/>
                  <a:pt x="364" y="309"/>
                  <a:pt x="367" y="309"/>
                </a:cubicBezTo>
                <a:cubicBezTo>
                  <a:pt x="367" y="307"/>
                  <a:pt x="368" y="306"/>
                  <a:pt x="369" y="306"/>
                </a:cubicBezTo>
                <a:cubicBezTo>
                  <a:pt x="372" y="303"/>
                  <a:pt x="376" y="304"/>
                  <a:pt x="379" y="305"/>
                </a:cubicBezTo>
                <a:cubicBezTo>
                  <a:pt x="378" y="304"/>
                  <a:pt x="379" y="302"/>
                  <a:pt x="379" y="301"/>
                </a:cubicBezTo>
                <a:cubicBezTo>
                  <a:pt x="381" y="298"/>
                  <a:pt x="384" y="297"/>
                  <a:pt x="386" y="297"/>
                </a:cubicBezTo>
                <a:cubicBezTo>
                  <a:pt x="389" y="294"/>
                  <a:pt x="393" y="296"/>
                  <a:pt x="396" y="296"/>
                </a:cubicBezTo>
                <a:cubicBezTo>
                  <a:pt x="396" y="296"/>
                  <a:pt x="396" y="297"/>
                  <a:pt x="397" y="297"/>
                </a:cubicBezTo>
                <a:cubicBezTo>
                  <a:pt x="397" y="296"/>
                  <a:pt x="397" y="296"/>
                  <a:pt x="397" y="296"/>
                </a:cubicBezTo>
                <a:cubicBezTo>
                  <a:pt x="400" y="293"/>
                  <a:pt x="404" y="293"/>
                  <a:pt x="406" y="293"/>
                </a:cubicBezTo>
                <a:cubicBezTo>
                  <a:pt x="407" y="293"/>
                  <a:pt x="408" y="293"/>
                  <a:pt x="408" y="293"/>
                </a:cubicBezTo>
                <a:cubicBezTo>
                  <a:pt x="408" y="293"/>
                  <a:pt x="409" y="293"/>
                  <a:pt x="409" y="293"/>
                </a:cubicBezTo>
                <a:cubicBezTo>
                  <a:pt x="410" y="291"/>
                  <a:pt x="412" y="289"/>
                  <a:pt x="414" y="289"/>
                </a:cubicBezTo>
                <a:cubicBezTo>
                  <a:pt x="417" y="288"/>
                  <a:pt x="419" y="289"/>
                  <a:pt x="421" y="291"/>
                </a:cubicBezTo>
                <a:cubicBezTo>
                  <a:pt x="421" y="291"/>
                  <a:pt x="421" y="290"/>
                  <a:pt x="421" y="290"/>
                </a:cubicBezTo>
                <a:cubicBezTo>
                  <a:pt x="424" y="287"/>
                  <a:pt x="427" y="288"/>
                  <a:pt x="430" y="288"/>
                </a:cubicBezTo>
                <a:cubicBezTo>
                  <a:pt x="430" y="288"/>
                  <a:pt x="430" y="288"/>
                  <a:pt x="430" y="288"/>
                </a:cubicBezTo>
                <a:cubicBezTo>
                  <a:pt x="431" y="288"/>
                  <a:pt x="431" y="288"/>
                  <a:pt x="432" y="288"/>
                </a:cubicBezTo>
                <a:cubicBezTo>
                  <a:pt x="434" y="287"/>
                  <a:pt x="437" y="287"/>
                  <a:pt x="440" y="288"/>
                </a:cubicBezTo>
                <a:cubicBezTo>
                  <a:pt x="442" y="288"/>
                  <a:pt x="446" y="288"/>
                  <a:pt x="448" y="290"/>
                </a:cubicBezTo>
                <a:cubicBezTo>
                  <a:pt x="449" y="291"/>
                  <a:pt x="450" y="292"/>
                  <a:pt x="451" y="294"/>
                </a:cubicBezTo>
                <a:cubicBezTo>
                  <a:pt x="452" y="293"/>
                  <a:pt x="452" y="293"/>
                  <a:pt x="453" y="293"/>
                </a:cubicBezTo>
                <a:cubicBezTo>
                  <a:pt x="453" y="293"/>
                  <a:pt x="453" y="293"/>
                  <a:pt x="453" y="293"/>
                </a:cubicBezTo>
                <a:cubicBezTo>
                  <a:pt x="455" y="288"/>
                  <a:pt x="458" y="287"/>
                  <a:pt x="460" y="287"/>
                </a:cubicBezTo>
                <a:cubicBezTo>
                  <a:pt x="463" y="286"/>
                  <a:pt x="468" y="286"/>
                  <a:pt x="471" y="289"/>
                </a:cubicBezTo>
                <a:cubicBezTo>
                  <a:pt x="472" y="290"/>
                  <a:pt x="473" y="292"/>
                  <a:pt x="475" y="294"/>
                </a:cubicBezTo>
                <a:cubicBezTo>
                  <a:pt x="475" y="294"/>
                  <a:pt x="475" y="294"/>
                  <a:pt x="475" y="295"/>
                </a:cubicBezTo>
                <a:cubicBezTo>
                  <a:pt x="477" y="295"/>
                  <a:pt x="478" y="296"/>
                  <a:pt x="479" y="296"/>
                </a:cubicBezTo>
                <a:cubicBezTo>
                  <a:pt x="488" y="302"/>
                  <a:pt x="489" y="306"/>
                  <a:pt x="489" y="308"/>
                </a:cubicBezTo>
                <a:cubicBezTo>
                  <a:pt x="489" y="309"/>
                  <a:pt x="489" y="312"/>
                  <a:pt x="489" y="314"/>
                </a:cubicBezTo>
                <a:cubicBezTo>
                  <a:pt x="490" y="315"/>
                  <a:pt x="490" y="315"/>
                  <a:pt x="491" y="315"/>
                </a:cubicBezTo>
                <a:cubicBezTo>
                  <a:pt x="493" y="317"/>
                  <a:pt x="495" y="321"/>
                  <a:pt x="494" y="325"/>
                </a:cubicBezTo>
                <a:cubicBezTo>
                  <a:pt x="495" y="325"/>
                  <a:pt x="496" y="325"/>
                  <a:pt x="497" y="325"/>
                </a:cubicBezTo>
                <a:cubicBezTo>
                  <a:pt x="499" y="326"/>
                  <a:pt x="501" y="328"/>
                  <a:pt x="502" y="330"/>
                </a:cubicBezTo>
                <a:cubicBezTo>
                  <a:pt x="502" y="331"/>
                  <a:pt x="502" y="331"/>
                  <a:pt x="502" y="332"/>
                </a:cubicBezTo>
                <a:cubicBezTo>
                  <a:pt x="502" y="332"/>
                  <a:pt x="503" y="333"/>
                  <a:pt x="503" y="333"/>
                </a:cubicBezTo>
                <a:cubicBezTo>
                  <a:pt x="503" y="333"/>
                  <a:pt x="503" y="333"/>
                  <a:pt x="504" y="334"/>
                </a:cubicBezTo>
                <a:cubicBezTo>
                  <a:pt x="506" y="336"/>
                  <a:pt x="507" y="337"/>
                  <a:pt x="507" y="339"/>
                </a:cubicBezTo>
                <a:cubicBezTo>
                  <a:pt x="509" y="339"/>
                  <a:pt x="511" y="340"/>
                  <a:pt x="512" y="342"/>
                </a:cubicBezTo>
                <a:cubicBezTo>
                  <a:pt x="512" y="342"/>
                  <a:pt x="512" y="342"/>
                  <a:pt x="512" y="343"/>
                </a:cubicBezTo>
                <a:cubicBezTo>
                  <a:pt x="512" y="342"/>
                  <a:pt x="513" y="341"/>
                  <a:pt x="513" y="341"/>
                </a:cubicBezTo>
                <a:cubicBezTo>
                  <a:pt x="513" y="340"/>
                  <a:pt x="513" y="338"/>
                  <a:pt x="513" y="337"/>
                </a:cubicBezTo>
                <a:cubicBezTo>
                  <a:pt x="513" y="336"/>
                  <a:pt x="513" y="335"/>
                  <a:pt x="513" y="335"/>
                </a:cubicBezTo>
                <a:cubicBezTo>
                  <a:pt x="513" y="334"/>
                  <a:pt x="513" y="333"/>
                  <a:pt x="513" y="329"/>
                </a:cubicBezTo>
                <a:cubicBezTo>
                  <a:pt x="512" y="329"/>
                  <a:pt x="512" y="328"/>
                  <a:pt x="512" y="327"/>
                </a:cubicBezTo>
                <a:cubicBezTo>
                  <a:pt x="511" y="326"/>
                  <a:pt x="510" y="324"/>
                  <a:pt x="510" y="323"/>
                </a:cubicBezTo>
                <a:cubicBezTo>
                  <a:pt x="510" y="322"/>
                  <a:pt x="509" y="321"/>
                  <a:pt x="507" y="320"/>
                </a:cubicBezTo>
                <a:cubicBezTo>
                  <a:pt x="507" y="319"/>
                  <a:pt x="507" y="319"/>
                  <a:pt x="507" y="319"/>
                </a:cubicBezTo>
                <a:cubicBezTo>
                  <a:pt x="506" y="318"/>
                  <a:pt x="504" y="316"/>
                  <a:pt x="503" y="314"/>
                </a:cubicBezTo>
                <a:cubicBezTo>
                  <a:pt x="502" y="312"/>
                  <a:pt x="502" y="312"/>
                  <a:pt x="502" y="312"/>
                </a:cubicBezTo>
                <a:cubicBezTo>
                  <a:pt x="500" y="310"/>
                  <a:pt x="499" y="307"/>
                  <a:pt x="499" y="304"/>
                </a:cubicBezTo>
                <a:cubicBezTo>
                  <a:pt x="498" y="302"/>
                  <a:pt x="498" y="302"/>
                  <a:pt x="497" y="301"/>
                </a:cubicBezTo>
                <a:cubicBezTo>
                  <a:pt x="496" y="300"/>
                  <a:pt x="495" y="298"/>
                  <a:pt x="495" y="296"/>
                </a:cubicBezTo>
                <a:cubicBezTo>
                  <a:pt x="494" y="296"/>
                  <a:pt x="494" y="296"/>
                  <a:pt x="494" y="296"/>
                </a:cubicBezTo>
                <a:cubicBezTo>
                  <a:pt x="491" y="296"/>
                  <a:pt x="488" y="293"/>
                  <a:pt x="486" y="291"/>
                </a:cubicBezTo>
                <a:cubicBezTo>
                  <a:pt x="485" y="288"/>
                  <a:pt x="485" y="285"/>
                  <a:pt x="485" y="283"/>
                </a:cubicBezTo>
                <a:cubicBezTo>
                  <a:pt x="485" y="280"/>
                  <a:pt x="486" y="278"/>
                  <a:pt x="487" y="276"/>
                </a:cubicBezTo>
                <a:cubicBezTo>
                  <a:pt x="487" y="275"/>
                  <a:pt x="487" y="274"/>
                  <a:pt x="487" y="273"/>
                </a:cubicBezTo>
                <a:cubicBezTo>
                  <a:pt x="486" y="272"/>
                  <a:pt x="486" y="271"/>
                  <a:pt x="486" y="271"/>
                </a:cubicBezTo>
                <a:cubicBezTo>
                  <a:pt x="486" y="270"/>
                  <a:pt x="486" y="266"/>
                  <a:pt x="486" y="263"/>
                </a:cubicBezTo>
                <a:cubicBezTo>
                  <a:pt x="487" y="262"/>
                  <a:pt x="488" y="257"/>
                  <a:pt x="489" y="255"/>
                </a:cubicBezTo>
                <a:cubicBezTo>
                  <a:pt x="489" y="255"/>
                  <a:pt x="489" y="255"/>
                  <a:pt x="490" y="255"/>
                </a:cubicBezTo>
                <a:cubicBezTo>
                  <a:pt x="490" y="253"/>
                  <a:pt x="490" y="252"/>
                  <a:pt x="490" y="250"/>
                </a:cubicBezTo>
                <a:cubicBezTo>
                  <a:pt x="491" y="247"/>
                  <a:pt x="493" y="245"/>
                  <a:pt x="495" y="244"/>
                </a:cubicBezTo>
                <a:cubicBezTo>
                  <a:pt x="496" y="243"/>
                  <a:pt x="496" y="243"/>
                  <a:pt x="498" y="241"/>
                </a:cubicBezTo>
                <a:cubicBezTo>
                  <a:pt x="499" y="241"/>
                  <a:pt x="499" y="241"/>
                  <a:pt x="500" y="241"/>
                </a:cubicBezTo>
                <a:cubicBezTo>
                  <a:pt x="500" y="241"/>
                  <a:pt x="500" y="241"/>
                  <a:pt x="500" y="241"/>
                </a:cubicBezTo>
                <a:cubicBezTo>
                  <a:pt x="500" y="238"/>
                  <a:pt x="502" y="237"/>
                  <a:pt x="503" y="236"/>
                </a:cubicBezTo>
                <a:cubicBezTo>
                  <a:pt x="503" y="235"/>
                  <a:pt x="504" y="233"/>
                  <a:pt x="505" y="232"/>
                </a:cubicBezTo>
                <a:cubicBezTo>
                  <a:pt x="505" y="230"/>
                  <a:pt x="507" y="228"/>
                  <a:pt x="509" y="227"/>
                </a:cubicBezTo>
                <a:cubicBezTo>
                  <a:pt x="509" y="226"/>
                  <a:pt x="510" y="225"/>
                  <a:pt x="510" y="223"/>
                </a:cubicBezTo>
                <a:cubicBezTo>
                  <a:pt x="511" y="221"/>
                  <a:pt x="512" y="219"/>
                  <a:pt x="512" y="219"/>
                </a:cubicBezTo>
                <a:cubicBezTo>
                  <a:pt x="513" y="217"/>
                  <a:pt x="516" y="216"/>
                  <a:pt x="519" y="215"/>
                </a:cubicBezTo>
                <a:cubicBezTo>
                  <a:pt x="519" y="214"/>
                  <a:pt x="519" y="213"/>
                  <a:pt x="519" y="212"/>
                </a:cubicBezTo>
                <a:cubicBezTo>
                  <a:pt x="520" y="210"/>
                  <a:pt x="523" y="206"/>
                  <a:pt x="525" y="203"/>
                </a:cubicBezTo>
                <a:cubicBezTo>
                  <a:pt x="524" y="202"/>
                  <a:pt x="524" y="200"/>
                  <a:pt x="525" y="199"/>
                </a:cubicBezTo>
                <a:cubicBezTo>
                  <a:pt x="524" y="198"/>
                  <a:pt x="524" y="197"/>
                  <a:pt x="524" y="196"/>
                </a:cubicBezTo>
                <a:cubicBezTo>
                  <a:pt x="523" y="194"/>
                  <a:pt x="524" y="192"/>
                  <a:pt x="525" y="190"/>
                </a:cubicBezTo>
                <a:cubicBezTo>
                  <a:pt x="525" y="190"/>
                  <a:pt x="526" y="190"/>
                  <a:pt x="526" y="190"/>
                </a:cubicBezTo>
                <a:cubicBezTo>
                  <a:pt x="525" y="189"/>
                  <a:pt x="524" y="187"/>
                  <a:pt x="524" y="186"/>
                </a:cubicBezTo>
                <a:cubicBezTo>
                  <a:pt x="523" y="183"/>
                  <a:pt x="523" y="180"/>
                  <a:pt x="525" y="178"/>
                </a:cubicBezTo>
                <a:cubicBezTo>
                  <a:pt x="523" y="177"/>
                  <a:pt x="521" y="176"/>
                  <a:pt x="520" y="174"/>
                </a:cubicBezTo>
                <a:cubicBezTo>
                  <a:pt x="519" y="172"/>
                  <a:pt x="519" y="169"/>
                  <a:pt x="520" y="167"/>
                </a:cubicBezTo>
                <a:cubicBezTo>
                  <a:pt x="520" y="167"/>
                  <a:pt x="520" y="166"/>
                  <a:pt x="520" y="166"/>
                </a:cubicBezTo>
                <a:cubicBezTo>
                  <a:pt x="520" y="166"/>
                  <a:pt x="520" y="166"/>
                  <a:pt x="520" y="166"/>
                </a:cubicBezTo>
                <a:cubicBezTo>
                  <a:pt x="519" y="164"/>
                  <a:pt x="518" y="161"/>
                  <a:pt x="519" y="159"/>
                </a:cubicBezTo>
                <a:cubicBezTo>
                  <a:pt x="519" y="159"/>
                  <a:pt x="519" y="159"/>
                  <a:pt x="519" y="158"/>
                </a:cubicBezTo>
                <a:cubicBezTo>
                  <a:pt x="519" y="158"/>
                  <a:pt x="519" y="157"/>
                  <a:pt x="519" y="156"/>
                </a:cubicBezTo>
                <a:cubicBezTo>
                  <a:pt x="518" y="154"/>
                  <a:pt x="517" y="152"/>
                  <a:pt x="516" y="150"/>
                </a:cubicBezTo>
                <a:cubicBezTo>
                  <a:pt x="515" y="146"/>
                  <a:pt x="515" y="141"/>
                  <a:pt x="515" y="139"/>
                </a:cubicBezTo>
                <a:cubicBezTo>
                  <a:pt x="516" y="138"/>
                  <a:pt x="516" y="136"/>
                  <a:pt x="518" y="133"/>
                </a:cubicBezTo>
                <a:cubicBezTo>
                  <a:pt x="519" y="131"/>
                  <a:pt x="521" y="130"/>
                  <a:pt x="523" y="130"/>
                </a:cubicBezTo>
                <a:cubicBezTo>
                  <a:pt x="524" y="130"/>
                  <a:pt x="526" y="130"/>
                  <a:pt x="527" y="130"/>
                </a:cubicBezTo>
                <a:cubicBezTo>
                  <a:pt x="527" y="130"/>
                  <a:pt x="527" y="130"/>
                  <a:pt x="527" y="130"/>
                </a:cubicBezTo>
                <a:cubicBezTo>
                  <a:pt x="530" y="129"/>
                  <a:pt x="532" y="129"/>
                  <a:pt x="534" y="130"/>
                </a:cubicBezTo>
                <a:cubicBezTo>
                  <a:pt x="535" y="130"/>
                  <a:pt x="535" y="130"/>
                  <a:pt x="535" y="130"/>
                </a:cubicBezTo>
                <a:cubicBezTo>
                  <a:pt x="535" y="129"/>
                  <a:pt x="535" y="128"/>
                  <a:pt x="535" y="128"/>
                </a:cubicBezTo>
                <a:cubicBezTo>
                  <a:pt x="536" y="127"/>
                  <a:pt x="536" y="127"/>
                  <a:pt x="536" y="126"/>
                </a:cubicBezTo>
                <a:cubicBezTo>
                  <a:pt x="536" y="126"/>
                  <a:pt x="536" y="125"/>
                  <a:pt x="536" y="123"/>
                </a:cubicBezTo>
                <a:cubicBezTo>
                  <a:pt x="536" y="123"/>
                  <a:pt x="536" y="123"/>
                  <a:pt x="536" y="123"/>
                </a:cubicBezTo>
                <a:cubicBezTo>
                  <a:pt x="530" y="119"/>
                  <a:pt x="534" y="111"/>
                  <a:pt x="534" y="111"/>
                </a:cubicBezTo>
                <a:cubicBezTo>
                  <a:pt x="534" y="109"/>
                  <a:pt x="536" y="107"/>
                  <a:pt x="536" y="106"/>
                </a:cubicBezTo>
                <a:cubicBezTo>
                  <a:pt x="537" y="105"/>
                  <a:pt x="538" y="104"/>
                  <a:pt x="539" y="103"/>
                </a:cubicBezTo>
                <a:cubicBezTo>
                  <a:pt x="539" y="103"/>
                  <a:pt x="540" y="102"/>
                  <a:pt x="541" y="101"/>
                </a:cubicBezTo>
                <a:cubicBezTo>
                  <a:pt x="542" y="99"/>
                  <a:pt x="543" y="98"/>
                  <a:pt x="544" y="98"/>
                </a:cubicBezTo>
                <a:cubicBezTo>
                  <a:pt x="545" y="96"/>
                  <a:pt x="547" y="95"/>
                  <a:pt x="550" y="94"/>
                </a:cubicBezTo>
                <a:cubicBezTo>
                  <a:pt x="551" y="94"/>
                  <a:pt x="551" y="94"/>
                  <a:pt x="551" y="94"/>
                </a:cubicBezTo>
                <a:cubicBezTo>
                  <a:pt x="551" y="94"/>
                  <a:pt x="552" y="93"/>
                  <a:pt x="552" y="93"/>
                </a:cubicBezTo>
                <a:cubicBezTo>
                  <a:pt x="553" y="93"/>
                  <a:pt x="553" y="93"/>
                  <a:pt x="553" y="93"/>
                </a:cubicBezTo>
                <a:cubicBezTo>
                  <a:pt x="553" y="92"/>
                  <a:pt x="555" y="91"/>
                  <a:pt x="556" y="91"/>
                </a:cubicBezTo>
                <a:cubicBezTo>
                  <a:pt x="556" y="91"/>
                  <a:pt x="556" y="91"/>
                  <a:pt x="556" y="91"/>
                </a:cubicBezTo>
                <a:cubicBezTo>
                  <a:pt x="556" y="89"/>
                  <a:pt x="556" y="88"/>
                  <a:pt x="557" y="88"/>
                </a:cubicBezTo>
                <a:cubicBezTo>
                  <a:pt x="557" y="87"/>
                  <a:pt x="558" y="85"/>
                  <a:pt x="559" y="85"/>
                </a:cubicBezTo>
                <a:cubicBezTo>
                  <a:pt x="558" y="84"/>
                  <a:pt x="558" y="83"/>
                  <a:pt x="557" y="82"/>
                </a:cubicBezTo>
                <a:cubicBezTo>
                  <a:pt x="556" y="80"/>
                  <a:pt x="556" y="79"/>
                  <a:pt x="556" y="77"/>
                </a:cubicBezTo>
                <a:cubicBezTo>
                  <a:pt x="555" y="76"/>
                  <a:pt x="554" y="75"/>
                  <a:pt x="554" y="74"/>
                </a:cubicBezTo>
                <a:cubicBezTo>
                  <a:pt x="553" y="71"/>
                  <a:pt x="555" y="67"/>
                  <a:pt x="555" y="65"/>
                </a:cubicBezTo>
                <a:cubicBezTo>
                  <a:pt x="556" y="65"/>
                  <a:pt x="556" y="64"/>
                  <a:pt x="556" y="63"/>
                </a:cubicBezTo>
                <a:cubicBezTo>
                  <a:pt x="556" y="62"/>
                  <a:pt x="556" y="62"/>
                  <a:pt x="556" y="62"/>
                </a:cubicBezTo>
                <a:cubicBezTo>
                  <a:pt x="556" y="60"/>
                  <a:pt x="557" y="59"/>
                  <a:pt x="557" y="58"/>
                </a:cubicBezTo>
                <a:cubicBezTo>
                  <a:pt x="557" y="57"/>
                  <a:pt x="558" y="57"/>
                  <a:pt x="558" y="56"/>
                </a:cubicBezTo>
                <a:cubicBezTo>
                  <a:pt x="559" y="53"/>
                  <a:pt x="561" y="51"/>
                  <a:pt x="563" y="51"/>
                </a:cubicBezTo>
                <a:cubicBezTo>
                  <a:pt x="563" y="49"/>
                  <a:pt x="564" y="49"/>
                  <a:pt x="565" y="48"/>
                </a:cubicBezTo>
                <a:cubicBezTo>
                  <a:pt x="565" y="47"/>
                  <a:pt x="565" y="47"/>
                  <a:pt x="565" y="46"/>
                </a:cubicBezTo>
                <a:cubicBezTo>
                  <a:pt x="564" y="43"/>
                  <a:pt x="566" y="40"/>
                  <a:pt x="569" y="38"/>
                </a:cubicBezTo>
                <a:cubicBezTo>
                  <a:pt x="570" y="38"/>
                  <a:pt x="571" y="38"/>
                  <a:pt x="572" y="38"/>
                </a:cubicBezTo>
                <a:cubicBezTo>
                  <a:pt x="573" y="37"/>
                  <a:pt x="574" y="36"/>
                  <a:pt x="574" y="36"/>
                </a:cubicBezTo>
                <a:cubicBezTo>
                  <a:pt x="575" y="36"/>
                  <a:pt x="575" y="36"/>
                  <a:pt x="575" y="36"/>
                </a:cubicBezTo>
                <a:cubicBezTo>
                  <a:pt x="575" y="35"/>
                  <a:pt x="575" y="35"/>
                  <a:pt x="576" y="35"/>
                </a:cubicBezTo>
                <a:cubicBezTo>
                  <a:pt x="573" y="34"/>
                  <a:pt x="572" y="32"/>
                  <a:pt x="572" y="31"/>
                </a:cubicBezTo>
                <a:cubicBezTo>
                  <a:pt x="570" y="30"/>
                  <a:pt x="569" y="30"/>
                  <a:pt x="568" y="28"/>
                </a:cubicBezTo>
                <a:cubicBezTo>
                  <a:pt x="565" y="26"/>
                  <a:pt x="564" y="22"/>
                  <a:pt x="564" y="19"/>
                </a:cubicBezTo>
                <a:cubicBezTo>
                  <a:pt x="564" y="19"/>
                  <a:pt x="563" y="18"/>
                  <a:pt x="562" y="17"/>
                </a:cubicBezTo>
                <a:cubicBezTo>
                  <a:pt x="561" y="18"/>
                  <a:pt x="561" y="18"/>
                  <a:pt x="561" y="18"/>
                </a:cubicBezTo>
                <a:cubicBezTo>
                  <a:pt x="560" y="19"/>
                  <a:pt x="558" y="19"/>
                  <a:pt x="557" y="20"/>
                </a:cubicBezTo>
                <a:cubicBezTo>
                  <a:pt x="557" y="20"/>
                  <a:pt x="557" y="21"/>
                  <a:pt x="557" y="21"/>
                </a:cubicBezTo>
                <a:cubicBezTo>
                  <a:pt x="557" y="22"/>
                  <a:pt x="557" y="23"/>
                  <a:pt x="557" y="24"/>
                </a:cubicBezTo>
                <a:cubicBezTo>
                  <a:pt x="557" y="24"/>
                  <a:pt x="557" y="24"/>
                  <a:pt x="557" y="24"/>
                </a:cubicBezTo>
                <a:cubicBezTo>
                  <a:pt x="557" y="24"/>
                  <a:pt x="557" y="25"/>
                  <a:pt x="557" y="27"/>
                </a:cubicBezTo>
                <a:cubicBezTo>
                  <a:pt x="557" y="30"/>
                  <a:pt x="558" y="33"/>
                  <a:pt x="558" y="33"/>
                </a:cubicBezTo>
                <a:cubicBezTo>
                  <a:pt x="558" y="34"/>
                  <a:pt x="557" y="37"/>
                  <a:pt x="556" y="39"/>
                </a:cubicBezTo>
                <a:cubicBezTo>
                  <a:pt x="556" y="39"/>
                  <a:pt x="556" y="39"/>
                  <a:pt x="556" y="39"/>
                </a:cubicBezTo>
                <a:cubicBezTo>
                  <a:pt x="556" y="41"/>
                  <a:pt x="556" y="42"/>
                  <a:pt x="556" y="42"/>
                </a:cubicBezTo>
                <a:cubicBezTo>
                  <a:pt x="556" y="47"/>
                  <a:pt x="548" y="53"/>
                  <a:pt x="548" y="53"/>
                </a:cubicBezTo>
                <a:cubicBezTo>
                  <a:pt x="546" y="55"/>
                  <a:pt x="541" y="56"/>
                  <a:pt x="538" y="58"/>
                </a:cubicBezTo>
                <a:cubicBezTo>
                  <a:pt x="536" y="58"/>
                  <a:pt x="519" y="65"/>
                  <a:pt x="516" y="67"/>
                </a:cubicBezTo>
                <a:cubicBezTo>
                  <a:pt x="515" y="67"/>
                  <a:pt x="515" y="67"/>
                  <a:pt x="514" y="68"/>
                </a:cubicBezTo>
                <a:cubicBezTo>
                  <a:pt x="514" y="69"/>
                  <a:pt x="514" y="69"/>
                  <a:pt x="514" y="70"/>
                </a:cubicBezTo>
                <a:cubicBezTo>
                  <a:pt x="514" y="71"/>
                  <a:pt x="514" y="72"/>
                  <a:pt x="514" y="73"/>
                </a:cubicBezTo>
                <a:cubicBezTo>
                  <a:pt x="514" y="74"/>
                  <a:pt x="513" y="75"/>
                  <a:pt x="513" y="75"/>
                </a:cubicBezTo>
                <a:cubicBezTo>
                  <a:pt x="514" y="77"/>
                  <a:pt x="514" y="79"/>
                  <a:pt x="513" y="82"/>
                </a:cubicBezTo>
                <a:cubicBezTo>
                  <a:pt x="513" y="82"/>
                  <a:pt x="514" y="82"/>
                  <a:pt x="514" y="83"/>
                </a:cubicBezTo>
                <a:cubicBezTo>
                  <a:pt x="514" y="84"/>
                  <a:pt x="515" y="90"/>
                  <a:pt x="507" y="93"/>
                </a:cubicBezTo>
                <a:cubicBezTo>
                  <a:pt x="507" y="93"/>
                  <a:pt x="506" y="94"/>
                  <a:pt x="505" y="95"/>
                </a:cubicBezTo>
                <a:cubicBezTo>
                  <a:pt x="500" y="98"/>
                  <a:pt x="499" y="99"/>
                  <a:pt x="497" y="99"/>
                </a:cubicBezTo>
                <a:cubicBezTo>
                  <a:pt x="496" y="100"/>
                  <a:pt x="494" y="100"/>
                  <a:pt x="490" y="100"/>
                </a:cubicBezTo>
                <a:cubicBezTo>
                  <a:pt x="490" y="100"/>
                  <a:pt x="490" y="100"/>
                  <a:pt x="490" y="100"/>
                </a:cubicBezTo>
                <a:cubicBezTo>
                  <a:pt x="491" y="101"/>
                  <a:pt x="491" y="102"/>
                  <a:pt x="491" y="103"/>
                </a:cubicBezTo>
                <a:cubicBezTo>
                  <a:pt x="491" y="106"/>
                  <a:pt x="489" y="109"/>
                  <a:pt x="487" y="111"/>
                </a:cubicBezTo>
                <a:cubicBezTo>
                  <a:pt x="486" y="113"/>
                  <a:pt x="479" y="119"/>
                  <a:pt x="478" y="120"/>
                </a:cubicBezTo>
                <a:cubicBezTo>
                  <a:pt x="476" y="121"/>
                  <a:pt x="464" y="131"/>
                  <a:pt x="462" y="133"/>
                </a:cubicBezTo>
                <a:cubicBezTo>
                  <a:pt x="461" y="134"/>
                  <a:pt x="458" y="135"/>
                  <a:pt x="455" y="137"/>
                </a:cubicBezTo>
                <a:cubicBezTo>
                  <a:pt x="455" y="137"/>
                  <a:pt x="454" y="138"/>
                  <a:pt x="454" y="138"/>
                </a:cubicBezTo>
                <a:cubicBezTo>
                  <a:pt x="451" y="140"/>
                  <a:pt x="447" y="140"/>
                  <a:pt x="444" y="138"/>
                </a:cubicBezTo>
                <a:cubicBezTo>
                  <a:pt x="443" y="138"/>
                  <a:pt x="443" y="138"/>
                  <a:pt x="443" y="138"/>
                </a:cubicBezTo>
                <a:cubicBezTo>
                  <a:pt x="442" y="138"/>
                  <a:pt x="441" y="138"/>
                  <a:pt x="439" y="137"/>
                </a:cubicBezTo>
                <a:cubicBezTo>
                  <a:pt x="437" y="136"/>
                  <a:pt x="436" y="135"/>
                  <a:pt x="435" y="132"/>
                </a:cubicBezTo>
                <a:cubicBezTo>
                  <a:pt x="434" y="129"/>
                  <a:pt x="435" y="127"/>
                  <a:pt x="436" y="125"/>
                </a:cubicBezTo>
                <a:cubicBezTo>
                  <a:pt x="436" y="125"/>
                  <a:pt x="436" y="124"/>
                  <a:pt x="436" y="124"/>
                </a:cubicBezTo>
                <a:cubicBezTo>
                  <a:pt x="435" y="124"/>
                  <a:pt x="435" y="123"/>
                  <a:pt x="435" y="123"/>
                </a:cubicBezTo>
                <a:cubicBezTo>
                  <a:pt x="435" y="119"/>
                  <a:pt x="438" y="117"/>
                  <a:pt x="440" y="115"/>
                </a:cubicBezTo>
                <a:cubicBezTo>
                  <a:pt x="440" y="114"/>
                  <a:pt x="439" y="111"/>
                  <a:pt x="439" y="109"/>
                </a:cubicBezTo>
                <a:cubicBezTo>
                  <a:pt x="439" y="109"/>
                  <a:pt x="439" y="109"/>
                  <a:pt x="439" y="109"/>
                </a:cubicBezTo>
                <a:cubicBezTo>
                  <a:pt x="436" y="111"/>
                  <a:pt x="433" y="112"/>
                  <a:pt x="430" y="111"/>
                </a:cubicBezTo>
                <a:cubicBezTo>
                  <a:pt x="426" y="110"/>
                  <a:pt x="424" y="107"/>
                  <a:pt x="424" y="102"/>
                </a:cubicBezTo>
                <a:cubicBezTo>
                  <a:pt x="424" y="100"/>
                  <a:pt x="425" y="99"/>
                  <a:pt x="425" y="97"/>
                </a:cubicBezTo>
                <a:cubicBezTo>
                  <a:pt x="425" y="97"/>
                  <a:pt x="426" y="97"/>
                  <a:pt x="426" y="97"/>
                </a:cubicBezTo>
                <a:cubicBezTo>
                  <a:pt x="426" y="96"/>
                  <a:pt x="426" y="95"/>
                  <a:pt x="427" y="94"/>
                </a:cubicBezTo>
                <a:cubicBezTo>
                  <a:pt x="427" y="93"/>
                  <a:pt x="427" y="92"/>
                  <a:pt x="426" y="92"/>
                </a:cubicBezTo>
                <a:cubicBezTo>
                  <a:pt x="426" y="92"/>
                  <a:pt x="426" y="91"/>
                  <a:pt x="426" y="91"/>
                </a:cubicBezTo>
                <a:cubicBezTo>
                  <a:pt x="426" y="91"/>
                  <a:pt x="426" y="91"/>
                  <a:pt x="426" y="90"/>
                </a:cubicBezTo>
                <a:cubicBezTo>
                  <a:pt x="425" y="90"/>
                  <a:pt x="425" y="90"/>
                  <a:pt x="425" y="89"/>
                </a:cubicBezTo>
                <a:cubicBezTo>
                  <a:pt x="424" y="88"/>
                  <a:pt x="423" y="88"/>
                  <a:pt x="423" y="88"/>
                </a:cubicBezTo>
                <a:cubicBezTo>
                  <a:pt x="422" y="88"/>
                  <a:pt x="422" y="88"/>
                  <a:pt x="421" y="88"/>
                </a:cubicBezTo>
                <a:cubicBezTo>
                  <a:pt x="421" y="89"/>
                  <a:pt x="420" y="89"/>
                  <a:pt x="420" y="90"/>
                </a:cubicBezTo>
                <a:cubicBezTo>
                  <a:pt x="420" y="91"/>
                  <a:pt x="420" y="92"/>
                  <a:pt x="420" y="92"/>
                </a:cubicBezTo>
                <a:cubicBezTo>
                  <a:pt x="420" y="94"/>
                  <a:pt x="418" y="98"/>
                  <a:pt x="414" y="99"/>
                </a:cubicBezTo>
                <a:cubicBezTo>
                  <a:pt x="413" y="99"/>
                  <a:pt x="412" y="99"/>
                  <a:pt x="411" y="99"/>
                </a:cubicBezTo>
                <a:cubicBezTo>
                  <a:pt x="411" y="100"/>
                  <a:pt x="411" y="100"/>
                  <a:pt x="411" y="101"/>
                </a:cubicBezTo>
                <a:cubicBezTo>
                  <a:pt x="412" y="102"/>
                  <a:pt x="412" y="102"/>
                  <a:pt x="412" y="102"/>
                </a:cubicBezTo>
                <a:cubicBezTo>
                  <a:pt x="412" y="104"/>
                  <a:pt x="411" y="105"/>
                  <a:pt x="411" y="106"/>
                </a:cubicBezTo>
                <a:cubicBezTo>
                  <a:pt x="411" y="106"/>
                  <a:pt x="411" y="106"/>
                  <a:pt x="411" y="106"/>
                </a:cubicBezTo>
                <a:cubicBezTo>
                  <a:pt x="411" y="107"/>
                  <a:pt x="411" y="107"/>
                  <a:pt x="411" y="108"/>
                </a:cubicBezTo>
                <a:cubicBezTo>
                  <a:pt x="412" y="109"/>
                  <a:pt x="412" y="110"/>
                  <a:pt x="413" y="111"/>
                </a:cubicBezTo>
                <a:cubicBezTo>
                  <a:pt x="416" y="115"/>
                  <a:pt x="416" y="119"/>
                  <a:pt x="416" y="122"/>
                </a:cubicBezTo>
                <a:cubicBezTo>
                  <a:pt x="416" y="123"/>
                  <a:pt x="415" y="132"/>
                  <a:pt x="414" y="136"/>
                </a:cubicBezTo>
                <a:cubicBezTo>
                  <a:pt x="413" y="138"/>
                  <a:pt x="411" y="142"/>
                  <a:pt x="407" y="143"/>
                </a:cubicBezTo>
                <a:cubicBezTo>
                  <a:pt x="406" y="143"/>
                  <a:pt x="406" y="144"/>
                  <a:pt x="406" y="144"/>
                </a:cubicBezTo>
                <a:cubicBezTo>
                  <a:pt x="403" y="145"/>
                  <a:pt x="401" y="146"/>
                  <a:pt x="398" y="146"/>
                </a:cubicBezTo>
                <a:cubicBezTo>
                  <a:pt x="392" y="145"/>
                  <a:pt x="389" y="137"/>
                  <a:pt x="388" y="134"/>
                </a:cubicBezTo>
                <a:cubicBezTo>
                  <a:pt x="387" y="131"/>
                  <a:pt x="388" y="129"/>
                  <a:pt x="388" y="127"/>
                </a:cubicBezTo>
                <a:cubicBezTo>
                  <a:pt x="388" y="126"/>
                  <a:pt x="387" y="126"/>
                  <a:pt x="387" y="126"/>
                </a:cubicBezTo>
                <a:cubicBezTo>
                  <a:pt x="386" y="124"/>
                  <a:pt x="385" y="120"/>
                  <a:pt x="385" y="117"/>
                </a:cubicBezTo>
                <a:cubicBezTo>
                  <a:pt x="385" y="115"/>
                  <a:pt x="386" y="114"/>
                  <a:pt x="386" y="112"/>
                </a:cubicBezTo>
                <a:cubicBezTo>
                  <a:pt x="386" y="112"/>
                  <a:pt x="386" y="111"/>
                  <a:pt x="386" y="111"/>
                </a:cubicBezTo>
                <a:cubicBezTo>
                  <a:pt x="386" y="110"/>
                  <a:pt x="386" y="109"/>
                  <a:pt x="386" y="108"/>
                </a:cubicBezTo>
                <a:cubicBezTo>
                  <a:pt x="386" y="108"/>
                  <a:pt x="385" y="108"/>
                  <a:pt x="385" y="108"/>
                </a:cubicBezTo>
                <a:cubicBezTo>
                  <a:pt x="381" y="106"/>
                  <a:pt x="381" y="102"/>
                  <a:pt x="381" y="101"/>
                </a:cubicBezTo>
                <a:cubicBezTo>
                  <a:pt x="380" y="100"/>
                  <a:pt x="380" y="98"/>
                  <a:pt x="383" y="93"/>
                </a:cubicBezTo>
                <a:cubicBezTo>
                  <a:pt x="383" y="93"/>
                  <a:pt x="383" y="93"/>
                  <a:pt x="383" y="93"/>
                </a:cubicBezTo>
                <a:cubicBezTo>
                  <a:pt x="383" y="90"/>
                  <a:pt x="385" y="87"/>
                  <a:pt x="386" y="84"/>
                </a:cubicBezTo>
                <a:cubicBezTo>
                  <a:pt x="386" y="84"/>
                  <a:pt x="387" y="82"/>
                  <a:pt x="387" y="81"/>
                </a:cubicBezTo>
                <a:cubicBezTo>
                  <a:pt x="387" y="81"/>
                  <a:pt x="387" y="81"/>
                  <a:pt x="387" y="80"/>
                </a:cubicBezTo>
                <a:cubicBezTo>
                  <a:pt x="387" y="80"/>
                  <a:pt x="387" y="80"/>
                  <a:pt x="387" y="80"/>
                </a:cubicBezTo>
                <a:cubicBezTo>
                  <a:pt x="385" y="80"/>
                  <a:pt x="383" y="79"/>
                  <a:pt x="382" y="78"/>
                </a:cubicBezTo>
                <a:cubicBezTo>
                  <a:pt x="382" y="78"/>
                  <a:pt x="382" y="78"/>
                  <a:pt x="381" y="78"/>
                </a:cubicBezTo>
                <a:cubicBezTo>
                  <a:pt x="379" y="79"/>
                  <a:pt x="376" y="78"/>
                  <a:pt x="375" y="77"/>
                </a:cubicBezTo>
                <a:cubicBezTo>
                  <a:pt x="374" y="77"/>
                  <a:pt x="374" y="78"/>
                  <a:pt x="373" y="78"/>
                </a:cubicBezTo>
                <a:cubicBezTo>
                  <a:pt x="372" y="78"/>
                  <a:pt x="372" y="79"/>
                  <a:pt x="371" y="79"/>
                </a:cubicBezTo>
                <a:cubicBezTo>
                  <a:pt x="370" y="80"/>
                  <a:pt x="369" y="81"/>
                  <a:pt x="367" y="82"/>
                </a:cubicBezTo>
                <a:cubicBezTo>
                  <a:pt x="367" y="82"/>
                  <a:pt x="366" y="82"/>
                  <a:pt x="366" y="83"/>
                </a:cubicBezTo>
                <a:cubicBezTo>
                  <a:pt x="364" y="84"/>
                  <a:pt x="360" y="85"/>
                  <a:pt x="355" y="85"/>
                </a:cubicBezTo>
                <a:cubicBezTo>
                  <a:pt x="353" y="85"/>
                  <a:pt x="351" y="84"/>
                  <a:pt x="350" y="83"/>
                </a:cubicBezTo>
                <a:cubicBezTo>
                  <a:pt x="349" y="83"/>
                  <a:pt x="347" y="84"/>
                  <a:pt x="346" y="84"/>
                </a:cubicBezTo>
                <a:cubicBezTo>
                  <a:pt x="340" y="85"/>
                  <a:pt x="338" y="81"/>
                  <a:pt x="337" y="80"/>
                </a:cubicBezTo>
                <a:cubicBezTo>
                  <a:pt x="335" y="75"/>
                  <a:pt x="340" y="71"/>
                  <a:pt x="342" y="70"/>
                </a:cubicBezTo>
                <a:cubicBezTo>
                  <a:pt x="343" y="69"/>
                  <a:pt x="344" y="66"/>
                  <a:pt x="345" y="65"/>
                </a:cubicBezTo>
                <a:cubicBezTo>
                  <a:pt x="343" y="65"/>
                  <a:pt x="341" y="64"/>
                  <a:pt x="340" y="63"/>
                </a:cubicBezTo>
                <a:cubicBezTo>
                  <a:pt x="339" y="63"/>
                  <a:pt x="339" y="63"/>
                  <a:pt x="338" y="62"/>
                </a:cubicBezTo>
                <a:cubicBezTo>
                  <a:pt x="339" y="62"/>
                  <a:pt x="338" y="62"/>
                  <a:pt x="337" y="62"/>
                </a:cubicBezTo>
                <a:cubicBezTo>
                  <a:pt x="336" y="62"/>
                  <a:pt x="334" y="61"/>
                  <a:pt x="333" y="61"/>
                </a:cubicBezTo>
                <a:cubicBezTo>
                  <a:pt x="332" y="61"/>
                  <a:pt x="330" y="61"/>
                  <a:pt x="329" y="62"/>
                </a:cubicBezTo>
                <a:cubicBezTo>
                  <a:pt x="326" y="62"/>
                  <a:pt x="321" y="60"/>
                  <a:pt x="319" y="59"/>
                </a:cubicBezTo>
                <a:cubicBezTo>
                  <a:pt x="318" y="59"/>
                  <a:pt x="317" y="58"/>
                  <a:pt x="316" y="58"/>
                </a:cubicBezTo>
                <a:cubicBezTo>
                  <a:pt x="315" y="58"/>
                  <a:pt x="314" y="58"/>
                  <a:pt x="313" y="58"/>
                </a:cubicBezTo>
                <a:cubicBezTo>
                  <a:pt x="313" y="58"/>
                  <a:pt x="312" y="57"/>
                  <a:pt x="311" y="57"/>
                </a:cubicBezTo>
                <a:cubicBezTo>
                  <a:pt x="311" y="57"/>
                  <a:pt x="310" y="58"/>
                  <a:pt x="309" y="58"/>
                </a:cubicBezTo>
                <a:cubicBezTo>
                  <a:pt x="176" y="62"/>
                  <a:pt x="138" y="52"/>
                  <a:pt x="64" y="33"/>
                </a:cubicBezTo>
                <a:cubicBezTo>
                  <a:pt x="63" y="33"/>
                  <a:pt x="63" y="33"/>
                  <a:pt x="63" y="33"/>
                </a:cubicBezTo>
                <a:cubicBezTo>
                  <a:pt x="63" y="33"/>
                  <a:pt x="63" y="33"/>
                  <a:pt x="63" y="33"/>
                </a:cubicBezTo>
                <a:cubicBezTo>
                  <a:pt x="64" y="35"/>
                  <a:pt x="65" y="38"/>
                  <a:pt x="63" y="42"/>
                </a:cubicBezTo>
                <a:cubicBezTo>
                  <a:pt x="62" y="43"/>
                  <a:pt x="62" y="43"/>
                  <a:pt x="62" y="44"/>
                </a:cubicBezTo>
                <a:cubicBezTo>
                  <a:pt x="61" y="45"/>
                  <a:pt x="60" y="50"/>
                  <a:pt x="58" y="52"/>
                </a:cubicBezTo>
                <a:cubicBezTo>
                  <a:pt x="56" y="54"/>
                  <a:pt x="52" y="56"/>
                  <a:pt x="49" y="55"/>
                </a:cubicBezTo>
                <a:cubicBezTo>
                  <a:pt x="47" y="55"/>
                  <a:pt x="45" y="54"/>
                  <a:pt x="43" y="52"/>
                </a:cubicBezTo>
                <a:cubicBezTo>
                  <a:pt x="43" y="52"/>
                  <a:pt x="43" y="53"/>
                  <a:pt x="43" y="53"/>
                </a:cubicBezTo>
                <a:cubicBezTo>
                  <a:pt x="44" y="53"/>
                  <a:pt x="44" y="54"/>
                  <a:pt x="44" y="54"/>
                </a:cubicBezTo>
                <a:cubicBezTo>
                  <a:pt x="46" y="58"/>
                  <a:pt x="46" y="62"/>
                  <a:pt x="44" y="65"/>
                </a:cubicBezTo>
                <a:cubicBezTo>
                  <a:pt x="43" y="66"/>
                  <a:pt x="41" y="67"/>
                  <a:pt x="39" y="67"/>
                </a:cubicBezTo>
                <a:cubicBezTo>
                  <a:pt x="38" y="68"/>
                  <a:pt x="38" y="69"/>
                  <a:pt x="38" y="69"/>
                </a:cubicBezTo>
                <a:cubicBezTo>
                  <a:pt x="38" y="70"/>
                  <a:pt x="37" y="71"/>
                  <a:pt x="36" y="72"/>
                </a:cubicBezTo>
                <a:cubicBezTo>
                  <a:pt x="35" y="74"/>
                  <a:pt x="34" y="77"/>
                  <a:pt x="33" y="78"/>
                </a:cubicBezTo>
                <a:cubicBezTo>
                  <a:pt x="33" y="80"/>
                  <a:pt x="32" y="85"/>
                  <a:pt x="30" y="87"/>
                </a:cubicBezTo>
                <a:cubicBezTo>
                  <a:pt x="28" y="90"/>
                  <a:pt x="28" y="90"/>
                  <a:pt x="28" y="90"/>
                </a:cubicBezTo>
                <a:cubicBezTo>
                  <a:pt x="27" y="91"/>
                  <a:pt x="25" y="94"/>
                  <a:pt x="24" y="95"/>
                </a:cubicBezTo>
                <a:cubicBezTo>
                  <a:pt x="24" y="98"/>
                  <a:pt x="23" y="100"/>
                  <a:pt x="21" y="102"/>
                </a:cubicBezTo>
                <a:cubicBezTo>
                  <a:pt x="21" y="102"/>
                  <a:pt x="21" y="102"/>
                  <a:pt x="21" y="102"/>
                </a:cubicBezTo>
                <a:cubicBezTo>
                  <a:pt x="21" y="103"/>
                  <a:pt x="21" y="108"/>
                  <a:pt x="20" y="110"/>
                </a:cubicBezTo>
                <a:cubicBezTo>
                  <a:pt x="20" y="111"/>
                  <a:pt x="20" y="113"/>
                  <a:pt x="20" y="114"/>
                </a:cubicBezTo>
                <a:cubicBezTo>
                  <a:pt x="20" y="114"/>
                  <a:pt x="20" y="114"/>
                  <a:pt x="20" y="114"/>
                </a:cubicBezTo>
                <a:cubicBezTo>
                  <a:pt x="21" y="116"/>
                  <a:pt x="21" y="119"/>
                  <a:pt x="21" y="121"/>
                </a:cubicBezTo>
                <a:cubicBezTo>
                  <a:pt x="20" y="122"/>
                  <a:pt x="20" y="123"/>
                  <a:pt x="20" y="124"/>
                </a:cubicBezTo>
                <a:cubicBezTo>
                  <a:pt x="20" y="127"/>
                  <a:pt x="18" y="130"/>
                  <a:pt x="16" y="132"/>
                </a:cubicBezTo>
                <a:cubicBezTo>
                  <a:pt x="15" y="132"/>
                  <a:pt x="15" y="133"/>
                  <a:pt x="14" y="133"/>
                </a:cubicBezTo>
                <a:cubicBezTo>
                  <a:pt x="14" y="134"/>
                  <a:pt x="15" y="134"/>
                  <a:pt x="15" y="135"/>
                </a:cubicBezTo>
                <a:cubicBezTo>
                  <a:pt x="16" y="137"/>
                  <a:pt x="17" y="142"/>
                  <a:pt x="17" y="145"/>
                </a:cubicBezTo>
                <a:cubicBezTo>
                  <a:pt x="17" y="145"/>
                  <a:pt x="16" y="146"/>
                  <a:pt x="16" y="148"/>
                </a:cubicBezTo>
                <a:cubicBezTo>
                  <a:pt x="16" y="149"/>
                  <a:pt x="15" y="152"/>
                  <a:pt x="15" y="154"/>
                </a:cubicBezTo>
                <a:cubicBezTo>
                  <a:pt x="17" y="157"/>
                  <a:pt x="19" y="160"/>
                  <a:pt x="19" y="162"/>
                </a:cubicBezTo>
                <a:cubicBezTo>
                  <a:pt x="20" y="162"/>
                  <a:pt x="20" y="162"/>
                  <a:pt x="20" y="162"/>
                </a:cubicBezTo>
                <a:cubicBezTo>
                  <a:pt x="23" y="163"/>
                  <a:pt x="25" y="165"/>
                  <a:pt x="27" y="167"/>
                </a:cubicBezTo>
                <a:cubicBezTo>
                  <a:pt x="27" y="169"/>
                  <a:pt x="28" y="171"/>
                  <a:pt x="27" y="172"/>
                </a:cubicBezTo>
                <a:cubicBezTo>
                  <a:pt x="27" y="173"/>
                  <a:pt x="27" y="173"/>
                  <a:pt x="27" y="173"/>
                </a:cubicBezTo>
                <a:cubicBezTo>
                  <a:pt x="27" y="176"/>
                  <a:pt x="28" y="180"/>
                  <a:pt x="25" y="183"/>
                </a:cubicBezTo>
                <a:cubicBezTo>
                  <a:pt x="25" y="183"/>
                  <a:pt x="25" y="183"/>
                  <a:pt x="25" y="183"/>
                </a:cubicBezTo>
                <a:cubicBezTo>
                  <a:pt x="27" y="184"/>
                  <a:pt x="29" y="187"/>
                  <a:pt x="29" y="190"/>
                </a:cubicBezTo>
                <a:cubicBezTo>
                  <a:pt x="29" y="192"/>
                  <a:pt x="29" y="194"/>
                  <a:pt x="28" y="196"/>
                </a:cubicBezTo>
                <a:cubicBezTo>
                  <a:pt x="28" y="196"/>
                  <a:pt x="28" y="196"/>
                  <a:pt x="28" y="196"/>
                </a:cubicBezTo>
                <a:cubicBezTo>
                  <a:pt x="29" y="197"/>
                  <a:pt x="29" y="198"/>
                  <a:pt x="30" y="200"/>
                </a:cubicBezTo>
                <a:cubicBezTo>
                  <a:pt x="30" y="201"/>
                  <a:pt x="31" y="204"/>
                  <a:pt x="32" y="205"/>
                </a:cubicBezTo>
                <a:cubicBezTo>
                  <a:pt x="33" y="206"/>
                  <a:pt x="35" y="209"/>
                  <a:pt x="35" y="210"/>
                </a:cubicBezTo>
                <a:cubicBezTo>
                  <a:pt x="36" y="213"/>
                  <a:pt x="38" y="217"/>
                  <a:pt x="37" y="222"/>
                </a:cubicBezTo>
                <a:cubicBezTo>
                  <a:pt x="37" y="222"/>
                  <a:pt x="38" y="222"/>
                  <a:pt x="38" y="222"/>
                </a:cubicBezTo>
                <a:cubicBezTo>
                  <a:pt x="40" y="223"/>
                  <a:pt x="42" y="224"/>
                  <a:pt x="43" y="224"/>
                </a:cubicBezTo>
                <a:cubicBezTo>
                  <a:pt x="45" y="226"/>
                  <a:pt x="47" y="227"/>
                  <a:pt x="48" y="229"/>
                </a:cubicBezTo>
                <a:cubicBezTo>
                  <a:pt x="48" y="229"/>
                  <a:pt x="49" y="230"/>
                  <a:pt x="49" y="231"/>
                </a:cubicBezTo>
                <a:cubicBezTo>
                  <a:pt x="50" y="231"/>
                  <a:pt x="51" y="232"/>
                  <a:pt x="51" y="232"/>
                </a:cubicBezTo>
                <a:cubicBezTo>
                  <a:pt x="58" y="232"/>
                  <a:pt x="60" y="238"/>
                  <a:pt x="60" y="239"/>
                </a:cubicBezTo>
                <a:cubicBezTo>
                  <a:pt x="62" y="241"/>
                  <a:pt x="65" y="242"/>
                  <a:pt x="67" y="246"/>
                </a:cubicBezTo>
                <a:cubicBezTo>
                  <a:pt x="69" y="250"/>
                  <a:pt x="69" y="253"/>
                  <a:pt x="70" y="255"/>
                </a:cubicBezTo>
                <a:cubicBezTo>
                  <a:pt x="70" y="255"/>
                  <a:pt x="70" y="255"/>
                  <a:pt x="70" y="255"/>
                </a:cubicBezTo>
                <a:cubicBezTo>
                  <a:pt x="70" y="256"/>
                  <a:pt x="70" y="257"/>
                  <a:pt x="70" y="258"/>
                </a:cubicBezTo>
                <a:cubicBezTo>
                  <a:pt x="91" y="260"/>
                  <a:pt x="91" y="260"/>
                  <a:pt x="91" y="260"/>
                </a:cubicBezTo>
                <a:cubicBezTo>
                  <a:pt x="91" y="260"/>
                  <a:pt x="92" y="260"/>
                  <a:pt x="93" y="261"/>
                </a:cubicBezTo>
                <a:cubicBezTo>
                  <a:pt x="137" y="286"/>
                  <a:pt x="137" y="286"/>
                  <a:pt x="137" y="286"/>
                </a:cubicBezTo>
                <a:cubicBezTo>
                  <a:pt x="165" y="289"/>
                  <a:pt x="165" y="289"/>
                  <a:pt x="165" y="289"/>
                </a:cubicBezTo>
                <a:cubicBezTo>
                  <a:pt x="165" y="288"/>
                  <a:pt x="166" y="286"/>
                  <a:pt x="167" y="285"/>
                </a:cubicBezTo>
                <a:cubicBezTo>
                  <a:pt x="168" y="284"/>
                  <a:pt x="170" y="283"/>
                  <a:pt x="171" y="283"/>
                </a:cubicBezTo>
                <a:cubicBezTo>
                  <a:pt x="189" y="284"/>
                  <a:pt x="189" y="284"/>
                  <a:pt x="189" y="284"/>
                </a:cubicBezTo>
                <a:cubicBezTo>
                  <a:pt x="191" y="284"/>
                  <a:pt x="192" y="285"/>
                  <a:pt x="193" y="285"/>
                </a:cubicBezTo>
                <a:cubicBezTo>
                  <a:pt x="193" y="285"/>
                  <a:pt x="198" y="289"/>
                  <a:pt x="199" y="290"/>
                </a:cubicBezTo>
                <a:cubicBezTo>
                  <a:pt x="202" y="292"/>
                  <a:pt x="204" y="296"/>
                  <a:pt x="205" y="297"/>
                </a:cubicBezTo>
                <a:cubicBezTo>
                  <a:pt x="205" y="297"/>
                  <a:pt x="206" y="298"/>
                  <a:pt x="206" y="298"/>
                </a:cubicBezTo>
                <a:cubicBezTo>
                  <a:pt x="206" y="298"/>
                  <a:pt x="207" y="299"/>
                  <a:pt x="207" y="299"/>
                </a:cubicBezTo>
                <a:cubicBezTo>
                  <a:pt x="210" y="300"/>
                  <a:pt x="214" y="301"/>
                  <a:pt x="215" y="306"/>
                </a:cubicBezTo>
                <a:cubicBezTo>
                  <a:pt x="215" y="306"/>
                  <a:pt x="215" y="307"/>
                  <a:pt x="217" y="311"/>
                </a:cubicBezTo>
                <a:cubicBezTo>
                  <a:pt x="218" y="313"/>
                  <a:pt x="218" y="314"/>
                  <a:pt x="219" y="316"/>
                </a:cubicBezTo>
                <a:cubicBezTo>
                  <a:pt x="219" y="317"/>
                  <a:pt x="219" y="318"/>
                  <a:pt x="219" y="319"/>
                </a:cubicBezTo>
                <a:cubicBezTo>
                  <a:pt x="220" y="319"/>
                  <a:pt x="221" y="320"/>
                  <a:pt x="222" y="321"/>
                </a:cubicBezTo>
                <a:cubicBezTo>
                  <a:pt x="223" y="322"/>
                  <a:pt x="226" y="323"/>
                  <a:pt x="228" y="324"/>
                </a:cubicBezTo>
                <a:cubicBezTo>
                  <a:pt x="233" y="319"/>
                  <a:pt x="235" y="318"/>
                  <a:pt x="236" y="317"/>
                </a:cubicBezTo>
                <a:cubicBezTo>
                  <a:pt x="242" y="314"/>
                  <a:pt x="249" y="314"/>
                  <a:pt x="254" y="318"/>
                </a:cubicBezTo>
                <a:cubicBezTo>
                  <a:pt x="258" y="322"/>
                  <a:pt x="267" y="332"/>
                  <a:pt x="270" y="337"/>
                </a:cubicBezTo>
                <a:cubicBezTo>
                  <a:pt x="272" y="339"/>
                  <a:pt x="274" y="341"/>
                  <a:pt x="275" y="343"/>
                </a:cubicBezTo>
                <a:cubicBezTo>
                  <a:pt x="276" y="344"/>
                  <a:pt x="277" y="345"/>
                  <a:pt x="277" y="346"/>
                </a:cubicBezTo>
                <a:cubicBezTo>
                  <a:pt x="278" y="346"/>
                  <a:pt x="278" y="346"/>
                  <a:pt x="279" y="347"/>
                </a:cubicBezTo>
                <a:cubicBezTo>
                  <a:pt x="280" y="349"/>
                  <a:pt x="282" y="351"/>
                  <a:pt x="283" y="354"/>
                </a:cubicBezTo>
                <a:cubicBezTo>
                  <a:pt x="283" y="354"/>
                  <a:pt x="283" y="355"/>
                  <a:pt x="284" y="356"/>
                </a:cubicBezTo>
                <a:cubicBezTo>
                  <a:pt x="285" y="362"/>
                  <a:pt x="286" y="364"/>
                  <a:pt x="287" y="365"/>
                </a:cubicBezTo>
                <a:close/>
                <a:moveTo>
                  <a:pt x="520" y="356"/>
                </a:moveTo>
                <a:cubicBezTo>
                  <a:pt x="520" y="356"/>
                  <a:pt x="520" y="356"/>
                  <a:pt x="520" y="357"/>
                </a:cubicBezTo>
                <a:cubicBezTo>
                  <a:pt x="520" y="356"/>
                  <a:pt x="520" y="356"/>
                  <a:pt x="520" y="356"/>
                </a:cubicBezTo>
                <a:close/>
                <a:moveTo>
                  <a:pt x="506" y="349"/>
                </a:moveTo>
                <a:cubicBezTo>
                  <a:pt x="506" y="349"/>
                  <a:pt x="506" y="349"/>
                  <a:pt x="506" y="349"/>
                </a:cubicBezTo>
                <a:cubicBezTo>
                  <a:pt x="506" y="349"/>
                  <a:pt x="506" y="349"/>
                  <a:pt x="506" y="349"/>
                </a:cubicBezTo>
                <a:close/>
                <a:moveTo>
                  <a:pt x="307" y="344"/>
                </a:moveTo>
                <a:cubicBezTo>
                  <a:pt x="307" y="344"/>
                  <a:pt x="307" y="344"/>
                  <a:pt x="307" y="344"/>
                </a:cubicBezTo>
                <a:cubicBezTo>
                  <a:pt x="307" y="344"/>
                  <a:pt x="307" y="344"/>
                  <a:pt x="307" y="344"/>
                </a:cubicBezTo>
                <a:close/>
                <a:moveTo>
                  <a:pt x="502" y="331"/>
                </a:moveTo>
                <a:cubicBezTo>
                  <a:pt x="502" y="331"/>
                  <a:pt x="502" y="331"/>
                  <a:pt x="502" y="331"/>
                </a:cubicBezTo>
                <a:cubicBezTo>
                  <a:pt x="502" y="331"/>
                  <a:pt x="502" y="331"/>
                  <a:pt x="502" y="331"/>
                </a:cubicBezTo>
                <a:close/>
                <a:moveTo>
                  <a:pt x="513" y="330"/>
                </a:moveTo>
                <a:cubicBezTo>
                  <a:pt x="513" y="330"/>
                  <a:pt x="513" y="330"/>
                  <a:pt x="513" y="330"/>
                </a:cubicBezTo>
                <a:close/>
                <a:moveTo>
                  <a:pt x="513" y="329"/>
                </a:moveTo>
                <a:cubicBezTo>
                  <a:pt x="513" y="329"/>
                  <a:pt x="513" y="329"/>
                  <a:pt x="513" y="329"/>
                </a:cubicBezTo>
                <a:cubicBezTo>
                  <a:pt x="513" y="329"/>
                  <a:pt x="513" y="329"/>
                  <a:pt x="513" y="329"/>
                </a:cubicBezTo>
                <a:close/>
                <a:moveTo>
                  <a:pt x="321" y="328"/>
                </a:moveTo>
                <a:cubicBezTo>
                  <a:pt x="321" y="328"/>
                  <a:pt x="321" y="328"/>
                  <a:pt x="321" y="328"/>
                </a:cubicBezTo>
                <a:close/>
                <a:moveTo>
                  <a:pt x="356" y="323"/>
                </a:moveTo>
                <a:cubicBezTo>
                  <a:pt x="356" y="323"/>
                  <a:pt x="356" y="323"/>
                  <a:pt x="356" y="323"/>
                </a:cubicBezTo>
                <a:cubicBezTo>
                  <a:pt x="356" y="323"/>
                  <a:pt x="356" y="323"/>
                  <a:pt x="356" y="323"/>
                </a:cubicBezTo>
                <a:close/>
                <a:moveTo>
                  <a:pt x="221" y="321"/>
                </a:moveTo>
                <a:cubicBezTo>
                  <a:pt x="221" y="321"/>
                  <a:pt x="221" y="321"/>
                  <a:pt x="221" y="321"/>
                </a:cubicBezTo>
                <a:cubicBezTo>
                  <a:pt x="221" y="321"/>
                  <a:pt x="221" y="321"/>
                  <a:pt x="221" y="321"/>
                </a:cubicBezTo>
                <a:close/>
                <a:moveTo>
                  <a:pt x="482" y="319"/>
                </a:moveTo>
                <a:cubicBezTo>
                  <a:pt x="482" y="319"/>
                  <a:pt x="482" y="319"/>
                  <a:pt x="482" y="319"/>
                </a:cubicBezTo>
                <a:cubicBezTo>
                  <a:pt x="482" y="319"/>
                  <a:pt x="482" y="319"/>
                  <a:pt x="482" y="319"/>
                </a:cubicBezTo>
                <a:close/>
                <a:moveTo>
                  <a:pt x="366" y="312"/>
                </a:moveTo>
                <a:cubicBezTo>
                  <a:pt x="366" y="312"/>
                  <a:pt x="366" y="312"/>
                  <a:pt x="366" y="312"/>
                </a:cubicBezTo>
                <a:close/>
                <a:moveTo>
                  <a:pt x="475" y="308"/>
                </a:moveTo>
                <a:cubicBezTo>
                  <a:pt x="475" y="308"/>
                  <a:pt x="475" y="308"/>
                  <a:pt x="475" y="308"/>
                </a:cubicBezTo>
                <a:cubicBezTo>
                  <a:pt x="475" y="308"/>
                  <a:pt x="475" y="308"/>
                  <a:pt x="475" y="308"/>
                </a:cubicBezTo>
                <a:close/>
                <a:moveTo>
                  <a:pt x="407" y="305"/>
                </a:moveTo>
                <a:cubicBezTo>
                  <a:pt x="407" y="305"/>
                  <a:pt x="407" y="305"/>
                  <a:pt x="407" y="305"/>
                </a:cubicBezTo>
                <a:cubicBezTo>
                  <a:pt x="407" y="305"/>
                  <a:pt x="408" y="305"/>
                  <a:pt x="408" y="305"/>
                </a:cubicBezTo>
                <a:cubicBezTo>
                  <a:pt x="408" y="305"/>
                  <a:pt x="407" y="305"/>
                  <a:pt x="407" y="305"/>
                </a:cubicBezTo>
                <a:close/>
                <a:moveTo>
                  <a:pt x="396" y="297"/>
                </a:moveTo>
                <a:cubicBezTo>
                  <a:pt x="396" y="297"/>
                  <a:pt x="396" y="297"/>
                  <a:pt x="396" y="297"/>
                </a:cubicBezTo>
                <a:close/>
                <a:moveTo>
                  <a:pt x="387" y="296"/>
                </a:moveTo>
                <a:cubicBezTo>
                  <a:pt x="387" y="296"/>
                  <a:pt x="387" y="296"/>
                  <a:pt x="387" y="296"/>
                </a:cubicBezTo>
                <a:cubicBezTo>
                  <a:pt x="387" y="296"/>
                  <a:pt x="387" y="296"/>
                  <a:pt x="387" y="296"/>
                </a:cubicBezTo>
                <a:close/>
                <a:moveTo>
                  <a:pt x="473" y="294"/>
                </a:moveTo>
                <a:cubicBezTo>
                  <a:pt x="473" y="294"/>
                  <a:pt x="473" y="294"/>
                  <a:pt x="473" y="294"/>
                </a:cubicBezTo>
                <a:cubicBezTo>
                  <a:pt x="473" y="294"/>
                  <a:pt x="473" y="294"/>
                  <a:pt x="473" y="294"/>
                </a:cubicBezTo>
                <a:close/>
                <a:moveTo>
                  <a:pt x="414" y="291"/>
                </a:moveTo>
                <a:cubicBezTo>
                  <a:pt x="414" y="291"/>
                  <a:pt x="414" y="291"/>
                  <a:pt x="413" y="291"/>
                </a:cubicBezTo>
                <a:cubicBezTo>
                  <a:pt x="414" y="291"/>
                  <a:pt x="414" y="291"/>
                  <a:pt x="414" y="291"/>
                </a:cubicBezTo>
                <a:close/>
                <a:moveTo>
                  <a:pt x="442" y="290"/>
                </a:moveTo>
                <a:cubicBezTo>
                  <a:pt x="442" y="290"/>
                  <a:pt x="442" y="290"/>
                  <a:pt x="442" y="290"/>
                </a:cubicBezTo>
                <a:cubicBezTo>
                  <a:pt x="442" y="290"/>
                  <a:pt x="442" y="290"/>
                  <a:pt x="442" y="290"/>
                </a:cubicBezTo>
                <a:close/>
                <a:moveTo>
                  <a:pt x="437" y="289"/>
                </a:moveTo>
                <a:cubicBezTo>
                  <a:pt x="437" y="289"/>
                  <a:pt x="437" y="289"/>
                  <a:pt x="437" y="289"/>
                </a:cubicBezTo>
                <a:cubicBezTo>
                  <a:pt x="437" y="289"/>
                  <a:pt x="437" y="289"/>
                  <a:pt x="437" y="289"/>
                </a:cubicBezTo>
                <a:close/>
                <a:moveTo>
                  <a:pt x="498" y="284"/>
                </a:moveTo>
                <a:cubicBezTo>
                  <a:pt x="498" y="284"/>
                  <a:pt x="498" y="284"/>
                  <a:pt x="498" y="284"/>
                </a:cubicBezTo>
                <a:close/>
                <a:moveTo>
                  <a:pt x="487" y="277"/>
                </a:moveTo>
                <a:cubicBezTo>
                  <a:pt x="487" y="277"/>
                  <a:pt x="487" y="277"/>
                  <a:pt x="487" y="277"/>
                </a:cubicBezTo>
                <a:close/>
                <a:moveTo>
                  <a:pt x="503" y="255"/>
                </a:moveTo>
                <a:cubicBezTo>
                  <a:pt x="502" y="256"/>
                  <a:pt x="502" y="256"/>
                  <a:pt x="502" y="257"/>
                </a:cubicBezTo>
                <a:cubicBezTo>
                  <a:pt x="502" y="256"/>
                  <a:pt x="502" y="255"/>
                  <a:pt x="503" y="255"/>
                </a:cubicBezTo>
                <a:cubicBezTo>
                  <a:pt x="503" y="255"/>
                  <a:pt x="503" y="255"/>
                  <a:pt x="503" y="255"/>
                </a:cubicBezTo>
                <a:close/>
                <a:moveTo>
                  <a:pt x="47" y="241"/>
                </a:moveTo>
                <a:cubicBezTo>
                  <a:pt x="47" y="241"/>
                  <a:pt x="47" y="241"/>
                  <a:pt x="47" y="241"/>
                </a:cubicBezTo>
                <a:cubicBezTo>
                  <a:pt x="47" y="241"/>
                  <a:pt x="47" y="241"/>
                  <a:pt x="47" y="241"/>
                </a:cubicBezTo>
                <a:close/>
                <a:moveTo>
                  <a:pt x="517" y="236"/>
                </a:moveTo>
                <a:cubicBezTo>
                  <a:pt x="517" y="236"/>
                  <a:pt x="517" y="236"/>
                  <a:pt x="517" y="236"/>
                </a:cubicBezTo>
                <a:cubicBezTo>
                  <a:pt x="517" y="236"/>
                  <a:pt x="517" y="236"/>
                  <a:pt x="517" y="236"/>
                </a:cubicBezTo>
                <a:close/>
                <a:moveTo>
                  <a:pt x="17" y="204"/>
                </a:moveTo>
                <a:cubicBezTo>
                  <a:pt x="17" y="204"/>
                  <a:pt x="17" y="204"/>
                  <a:pt x="17" y="204"/>
                </a:cubicBezTo>
                <a:cubicBezTo>
                  <a:pt x="17" y="204"/>
                  <a:pt x="17" y="204"/>
                  <a:pt x="17" y="204"/>
                </a:cubicBezTo>
                <a:close/>
                <a:moveTo>
                  <a:pt x="534" y="199"/>
                </a:moveTo>
                <a:cubicBezTo>
                  <a:pt x="534" y="199"/>
                  <a:pt x="534" y="199"/>
                  <a:pt x="534" y="199"/>
                </a:cubicBezTo>
                <a:cubicBezTo>
                  <a:pt x="534" y="199"/>
                  <a:pt x="534" y="199"/>
                  <a:pt x="534" y="199"/>
                </a:cubicBezTo>
                <a:close/>
                <a:moveTo>
                  <a:pt x="535" y="197"/>
                </a:moveTo>
                <a:cubicBezTo>
                  <a:pt x="535" y="197"/>
                  <a:pt x="535" y="197"/>
                  <a:pt x="534" y="197"/>
                </a:cubicBezTo>
                <a:cubicBezTo>
                  <a:pt x="535" y="197"/>
                  <a:pt x="535" y="197"/>
                  <a:pt x="535" y="197"/>
                </a:cubicBezTo>
                <a:close/>
                <a:moveTo>
                  <a:pt x="536" y="177"/>
                </a:moveTo>
                <a:cubicBezTo>
                  <a:pt x="536" y="177"/>
                  <a:pt x="536" y="177"/>
                  <a:pt x="536" y="177"/>
                </a:cubicBezTo>
                <a:cubicBezTo>
                  <a:pt x="536" y="177"/>
                  <a:pt x="536" y="177"/>
                  <a:pt x="536" y="177"/>
                </a:cubicBezTo>
                <a:close/>
                <a:moveTo>
                  <a:pt x="534" y="158"/>
                </a:moveTo>
                <a:cubicBezTo>
                  <a:pt x="535" y="158"/>
                  <a:pt x="535" y="158"/>
                  <a:pt x="535" y="158"/>
                </a:cubicBezTo>
                <a:cubicBezTo>
                  <a:pt x="534" y="157"/>
                  <a:pt x="534" y="157"/>
                  <a:pt x="534" y="157"/>
                </a:cubicBezTo>
                <a:cubicBezTo>
                  <a:pt x="534" y="157"/>
                  <a:pt x="534" y="158"/>
                  <a:pt x="534" y="158"/>
                </a:cubicBezTo>
                <a:close/>
                <a:moveTo>
                  <a:pt x="520" y="135"/>
                </a:moveTo>
                <a:cubicBezTo>
                  <a:pt x="520" y="135"/>
                  <a:pt x="520" y="135"/>
                  <a:pt x="520" y="135"/>
                </a:cubicBezTo>
                <a:cubicBezTo>
                  <a:pt x="520" y="135"/>
                  <a:pt x="520" y="135"/>
                  <a:pt x="520" y="135"/>
                </a:cubicBezTo>
                <a:close/>
                <a:moveTo>
                  <a:pt x="399" y="114"/>
                </a:moveTo>
                <a:cubicBezTo>
                  <a:pt x="399" y="115"/>
                  <a:pt x="399" y="116"/>
                  <a:pt x="399" y="116"/>
                </a:cubicBezTo>
                <a:cubicBezTo>
                  <a:pt x="399" y="116"/>
                  <a:pt x="399" y="117"/>
                  <a:pt x="399" y="118"/>
                </a:cubicBezTo>
                <a:cubicBezTo>
                  <a:pt x="399" y="118"/>
                  <a:pt x="399" y="119"/>
                  <a:pt x="399" y="120"/>
                </a:cubicBezTo>
                <a:cubicBezTo>
                  <a:pt x="400" y="122"/>
                  <a:pt x="402" y="124"/>
                  <a:pt x="401" y="127"/>
                </a:cubicBezTo>
                <a:cubicBezTo>
                  <a:pt x="401" y="127"/>
                  <a:pt x="401" y="128"/>
                  <a:pt x="401" y="128"/>
                </a:cubicBezTo>
                <a:cubicBezTo>
                  <a:pt x="401" y="128"/>
                  <a:pt x="401" y="130"/>
                  <a:pt x="401" y="130"/>
                </a:cubicBezTo>
                <a:cubicBezTo>
                  <a:pt x="401" y="130"/>
                  <a:pt x="401" y="131"/>
                  <a:pt x="401" y="131"/>
                </a:cubicBezTo>
                <a:cubicBezTo>
                  <a:pt x="401" y="131"/>
                  <a:pt x="401" y="131"/>
                  <a:pt x="401" y="131"/>
                </a:cubicBezTo>
                <a:cubicBezTo>
                  <a:pt x="402" y="129"/>
                  <a:pt x="402" y="123"/>
                  <a:pt x="402" y="122"/>
                </a:cubicBezTo>
                <a:cubicBezTo>
                  <a:pt x="402" y="121"/>
                  <a:pt x="402" y="119"/>
                  <a:pt x="402" y="119"/>
                </a:cubicBezTo>
                <a:cubicBezTo>
                  <a:pt x="401" y="117"/>
                  <a:pt x="400" y="116"/>
                  <a:pt x="399" y="114"/>
                </a:cubicBezTo>
                <a:close/>
                <a:moveTo>
                  <a:pt x="404" y="130"/>
                </a:moveTo>
                <a:cubicBezTo>
                  <a:pt x="404" y="130"/>
                  <a:pt x="404" y="130"/>
                  <a:pt x="404" y="130"/>
                </a:cubicBezTo>
                <a:cubicBezTo>
                  <a:pt x="404" y="130"/>
                  <a:pt x="404" y="130"/>
                  <a:pt x="404" y="130"/>
                </a:cubicBezTo>
                <a:close/>
                <a:moveTo>
                  <a:pt x="446" y="127"/>
                </a:moveTo>
                <a:cubicBezTo>
                  <a:pt x="446" y="127"/>
                  <a:pt x="446" y="127"/>
                  <a:pt x="446" y="127"/>
                </a:cubicBezTo>
                <a:cubicBezTo>
                  <a:pt x="446" y="127"/>
                  <a:pt x="446" y="127"/>
                  <a:pt x="446" y="127"/>
                </a:cubicBezTo>
                <a:close/>
                <a:moveTo>
                  <a:pt x="450" y="127"/>
                </a:moveTo>
                <a:cubicBezTo>
                  <a:pt x="450" y="127"/>
                  <a:pt x="450" y="127"/>
                  <a:pt x="450" y="127"/>
                </a:cubicBezTo>
                <a:cubicBezTo>
                  <a:pt x="450" y="127"/>
                  <a:pt x="450" y="127"/>
                  <a:pt x="450" y="127"/>
                </a:cubicBezTo>
                <a:close/>
                <a:moveTo>
                  <a:pt x="440" y="116"/>
                </a:moveTo>
                <a:cubicBezTo>
                  <a:pt x="440" y="116"/>
                  <a:pt x="440" y="116"/>
                  <a:pt x="440" y="116"/>
                </a:cubicBezTo>
                <a:close/>
                <a:moveTo>
                  <a:pt x="20" y="103"/>
                </a:moveTo>
                <a:cubicBezTo>
                  <a:pt x="20" y="103"/>
                  <a:pt x="20" y="103"/>
                  <a:pt x="20" y="103"/>
                </a:cubicBezTo>
                <a:cubicBezTo>
                  <a:pt x="20" y="103"/>
                  <a:pt x="20" y="103"/>
                  <a:pt x="20" y="103"/>
                </a:cubicBezTo>
                <a:close/>
                <a:moveTo>
                  <a:pt x="435" y="101"/>
                </a:moveTo>
                <a:cubicBezTo>
                  <a:pt x="435" y="101"/>
                  <a:pt x="435" y="101"/>
                  <a:pt x="435" y="101"/>
                </a:cubicBezTo>
                <a:cubicBezTo>
                  <a:pt x="435" y="101"/>
                  <a:pt x="435" y="101"/>
                  <a:pt x="435" y="101"/>
                </a:cubicBezTo>
                <a:close/>
                <a:moveTo>
                  <a:pt x="491" y="100"/>
                </a:moveTo>
                <a:cubicBezTo>
                  <a:pt x="491" y="100"/>
                  <a:pt x="491" y="100"/>
                  <a:pt x="491" y="100"/>
                </a:cubicBezTo>
                <a:close/>
                <a:moveTo>
                  <a:pt x="417" y="92"/>
                </a:moveTo>
                <a:cubicBezTo>
                  <a:pt x="416" y="92"/>
                  <a:pt x="416" y="93"/>
                  <a:pt x="416" y="93"/>
                </a:cubicBezTo>
                <a:cubicBezTo>
                  <a:pt x="416" y="93"/>
                  <a:pt x="416" y="92"/>
                  <a:pt x="417" y="92"/>
                </a:cubicBezTo>
                <a:close/>
                <a:moveTo>
                  <a:pt x="384" y="92"/>
                </a:moveTo>
                <a:cubicBezTo>
                  <a:pt x="384" y="92"/>
                  <a:pt x="384" y="92"/>
                  <a:pt x="384" y="92"/>
                </a:cubicBezTo>
                <a:cubicBezTo>
                  <a:pt x="384" y="92"/>
                  <a:pt x="384" y="92"/>
                  <a:pt x="384" y="92"/>
                </a:cubicBezTo>
                <a:close/>
                <a:moveTo>
                  <a:pt x="559" y="90"/>
                </a:moveTo>
                <a:cubicBezTo>
                  <a:pt x="559" y="90"/>
                  <a:pt x="559" y="90"/>
                  <a:pt x="559" y="90"/>
                </a:cubicBezTo>
                <a:cubicBezTo>
                  <a:pt x="559" y="90"/>
                  <a:pt x="559" y="90"/>
                  <a:pt x="559" y="90"/>
                </a:cubicBezTo>
                <a:close/>
                <a:moveTo>
                  <a:pt x="572" y="80"/>
                </a:moveTo>
                <a:cubicBezTo>
                  <a:pt x="572" y="80"/>
                  <a:pt x="572" y="80"/>
                  <a:pt x="572" y="80"/>
                </a:cubicBezTo>
                <a:cubicBezTo>
                  <a:pt x="572" y="80"/>
                  <a:pt x="572" y="80"/>
                  <a:pt x="572" y="80"/>
                </a:cubicBezTo>
                <a:close/>
                <a:moveTo>
                  <a:pt x="360" y="76"/>
                </a:moveTo>
                <a:cubicBezTo>
                  <a:pt x="354" y="76"/>
                  <a:pt x="354" y="76"/>
                  <a:pt x="354" y="76"/>
                </a:cubicBezTo>
                <a:cubicBezTo>
                  <a:pt x="361" y="77"/>
                  <a:pt x="361" y="77"/>
                  <a:pt x="361" y="77"/>
                </a:cubicBezTo>
                <a:cubicBezTo>
                  <a:pt x="361" y="76"/>
                  <a:pt x="361" y="76"/>
                  <a:pt x="360" y="76"/>
                </a:cubicBezTo>
                <a:close/>
                <a:moveTo>
                  <a:pt x="358" y="70"/>
                </a:moveTo>
                <a:cubicBezTo>
                  <a:pt x="358" y="71"/>
                  <a:pt x="359" y="71"/>
                  <a:pt x="359" y="71"/>
                </a:cubicBezTo>
                <a:cubicBezTo>
                  <a:pt x="359" y="71"/>
                  <a:pt x="360" y="71"/>
                  <a:pt x="361" y="70"/>
                </a:cubicBezTo>
                <a:cubicBezTo>
                  <a:pt x="361" y="70"/>
                  <a:pt x="362" y="70"/>
                  <a:pt x="362" y="69"/>
                </a:cubicBezTo>
                <a:cubicBezTo>
                  <a:pt x="363" y="68"/>
                  <a:pt x="364" y="68"/>
                  <a:pt x="366" y="67"/>
                </a:cubicBezTo>
                <a:cubicBezTo>
                  <a:pt x="366" y="66"/>
                  <a:pt x="367" y="66"/>
                  <a:pt x="367" y="66"/>
                </a:cubicBezTo>
                <a:cubicBezTo>
                  <a:pt x="368" y="65"/>
                  <a:pt x="368" y="64"/>
                  <a:pt x="369" y="64"/>
                </a:cubicBezTo>
                <a:cubicBezTo>
                  <a:pt x="368" y="64"/>
                  <a:pt x="368" y="64"/>
                  <a:pt x="368" y="64"/>
                </a:cubicBezTo>
                <a:cubicBezTo>
                  <a:pt x="364" y="66"/>
                  <a:pt x="360" y="69"/>
                  <a:pt x="358" y="70"/>
                </a:cubicBezTo>
                <a:close/>
                <a:moveTo>
                  <a:pt x="367" y="67"/>
                </a:moveTo>
                <a:cubicBezTo>
                  <a:pt x="367" y="67"/>
                  <a:pt x="367" y="67"/>
                  <a:pt x="367" y="67"/>
                </a:cubicBezTo>
                <a:cubicBezTo>
                  <a:pt x="367" y="67"/>
                  <a:pt x="367" y="67"/>
                  <a:pt x="367" y="67"/>
                </a:cubicBezTo>
                <a:close/>
                <a:moveTo>
                  <a:pt x="555" y="65"/>
                </a:moveTo>
                <a:cubicBezTo>
                  <a:pt x="555" y="65"/>
                  <a:pt x="555" y="65"/>
                  <a:pt x="555" y="65"/>
                </a:cubicBezTo>
                <a:close/>
                <a:moveTo>
                  <a:pt x="556" y="64"/>
                </a:moveTo>
                <a:cubicBezTo>
                  <a:pt x="556" y="64"/>
                  <a:pt x="556" y="64"/>
                  <a:pt x="556" y="64"/>
                </a:cubicBezTo>
                <a:cubicBezTo>
                  <a:pt x="556" y="64"/>
                  <a:pt x="556" y="64"/>
                  <a:pt x="556" y="64"/>
                </a:cubicBezTo>
                <a:close/>
                <a:moveTo>
                  <a:pt x="556" y="64"/>
                </a:moveTo>
                <a:cubicBezTo>
                  <a:pt x="556" y="64"/>
                  <a:pt x="556" y="64"/>
                  <a:pt x="556" y="64"/>
                </a:cubicBezTo>
                <a:close/>
                <a:moveTo>
                  <a:pt x="331" y="60"/>
                </a:moveTo>
                <a:cubicBezTo>
                  <a:pt x="331" y="60"/>
                  <a:pt x="331" y="60"/>
                  <a:pt x="331" y="60"/>
                </a:cubicBezTo>
                <a:cubicBezTo>
                  <a:pt x="331" y="60"/>
                  <a:pt x="331" y="60"/>
                  <a:pt x="331" y="60"/>
                </a:cubicBezTo>
                <a:close/>
                <a:moveTo>
                  <a:pt x="319" y="59"/>
                </a:moveTo>
                <a:cubicBezTo>
                  <a:pt x="319" y="59"/>
                  <a:pt x="319" y="59"/>
                  <a:pt x="319" y="59"/>
                </a:cubicBezTo>
                <a:close/>
                <a:moveTo>
                  <a:pt x="318" y="58"/>
                </a:moveTo>
                <a:cubicBezTo>
                  <a:pt x="318" y="58"/>
                  <a:pt x="318" y="58"/>
                  <a:pt x="318" y="58"/>
                </a:cubicBezTo>
                <a:cubicBezTo>
                  <a:pt x="318" y="58"/>
                  <a:pt x="318" y="58"/>
                  <a:pt x="318" y="58"/>
                </a:cubicBezTo>
                <a:close/>
                <a:moveTo>
                  <a:pt x="44" y="44"/>
                </a:moveTo>
                <a:cubicBezTo>
                  <a:pt x="44" y="44"/>
                  <a:pt x="44" y="44"/>
                  <a:pt x="44" y="44"/>
                </a:cubicBezTo>
                <a:cubicBezTo>
                  <a:pt x="44" y="44"/>
                  <a:pt x="44" y="44"/>
                  <a:pt x="44" y="44"/>
                </a:cubicBezTo>
                <a:close/>
                <a:moveTo>
                  <a:pt x="578" y="44"/>
                </a:moveTo>
                <a:cubicBezTo>
                  <a:pt x="578" y="44"/>
                  <a:pt x="578" y="44"/>
                  <a:pt x="578" y="44"/>
                </a:cubicBezTo>
                <a:cubicBezTo>
                  <a:pt x="578" y="44"/>
                  <a:pt x="578" y="44"/>
                  <a:pt x="578" y="44"/>
                </a:cubicBezTo>
                <a:close/>
                <a:moveTo>
                  <a:pt x="42" y="39"/>
                </a:moveTo>
                <a:cubicBezTo>
                  <a:pt x="42" y="40"/>
                  <a:pt x="42" y="40"/>
                  <a:pt x="42" y="40"/>
                </a:cubicBezTo>
                <a:cubicBezTo>
                  <a:pt x="42" y="40"/>
                  <a:pt x="42" y="40"/>
                  <a:pt x="43" y="40"/>
                </a:cubicBezTo>
                <a:cubicBezTo>
                  <a:pt x="42" y="40"/>
                  <a:pt x="42" y="39"/>
                  <a:pt x="42" y="39"/>
                </a:cubicBezTo>
                <a:close/>
                <a:moveTo>
                  <a:pt x="574" y="36"/>
                </a:moveTo>
                <a:cubicBezTo>
                  <a:pt x="574" y="36"/>
                  <a:pt x="574" y="36"/>
                  <a:pt x="574" y="36"/>
                </a:cubicBezTo>
                <a:close/>
                <a:moveTo>
                  <a:pt x="33" y="35"/>
                </a:moveTo>
                <a:cubicBezTo>
                  <a:pt x="34" y="35"/>
                  <a:pt x="34" y="35"/>
                  <a:pt x="34" y="35"/>
                </a:cubicBezTo>
                <a:cubicBezTo>
                  <a:pt x="34" y="35"/>
                  <a:pt x="34" y="35"/>
                  <a:pt x="33" y="35"/>
                </a:cubicBezTo>
                <a:close/>
                <a:moveTo>
                  <a:pt x="545" y="32"/>
                </a:moveTo>
                <a:cubicBezTo>
                  <a:pt x="545" y="32"/>
                  <a:pt x="545" y="32"/>
                  <a:pt x="545" y="33"/>
                </a:cubicBezTo>
                <a:cubicBezTo>
                  <a:pt x="545" y="32"/>
                  <a:pt x="545" y="32"/>
                  <a:pt x="545" y="32"/>
                </a:cubicBezTo>
                <a:close/>
                <a:moveTo>
                  <a:pt x="588" y="25"/>
                </a:moveTo>
                <a:cubicBezTo>
                  <a:pt x="588" y="25"/>
                  <a:pt x="588" y="25"/>
                  <a:pt x="588" y="25"/>
                </a:cubicBezTo>
                <a:cubicBezTo>
                  <a:pt x="588" y="25"/>
                  <a:pt x="588" y="25"/>
                  <a:pt x="588" y="25"/>
                </a:cubicBezTo>
                <a:close/>
                <a:moveTo>
                  <a:pt x="564" y="20"/>
                </a:moveTo>
                <a:cubicBezTo>
                  <a:pt x="564" y="20"/>
                  <a:pt x="564" y="20"/>
                  <a:pt x="564" y="20"/>
                </a:cubicBezTo>
                <a:close/>
              </a:path>
            </a:pathLst>
          </a:cu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51" name="Freeform 160">
            <a:extLst>
              <a:ext uri="{FF2B5EF4-FFF2-40B4-BE49-F238E27FC236}">
                <a16:creationId xmlns:a16="http://schemas.microsoft.com/office/drawing/2014/main" id="{FFEBA6DC-031A-4DB6-A52A-C2C035178463}"/>
              </a:ext>
            </a:extLst>
          </p:cNvPr>
          <p:cNvSpPr>
            <a:spLocks noChangeAspect="1" noEditPoints="1"/>
          </p:cNvSpPr>
          <p:nvPr/>
        </p:nvSpPr>
        <p:spPr bwMode="auto">
          <a:xfrm>
            <a:off x="4404458" y="2996279"/>
            <a:ext cx="502340" cy="457200"/>
          </a:xfrm>
          <a:custGeom>
            <a:avLst/>
            <a:gdLst>
              <a:gd name="T0" fmla="*/ 444 w 518"/>
              <a:gd name="T1" fmla="*/ 439 h 468"/>
              <a:gd name="T2" fmla="*/ 261 w 518"/>
              <a:gd name="T3" fmla="*/ 0 h 468"/>
              <a:gd name="T4" fmla="*/ 43 w 518"/>
              <a:gd name="T5" fmla="*/ 388 h 468"/>
              <a:gd name="T6" fmla="*/ 171 w 518"/>
              <a:gd name="T7" fmla="*/ 468 h 468"/>
              <a:gd name="T8" fmla="*/ 358 w 518"/>
              <a:gd name="T9" fmla="*/ 258 h 468"/>
              <a:gd name="T10" fmla="*/ 350 w 518"/>
              <a:gd name="T11" fmla="*/ 203 h 468"/>
              <a:gd name="T12" fmla="*/ 319 w 518"/>
              <a:gd name="T13" fmla="*/ 124 h 468"/>
              <a:gd name="T14" fmla="*/ 302 w 518"/>
              <a:gd name="T15" fmla="*/ 124 h 468"/>
              <a:gd name="T16" fmla="*/ 219 w 518"/>
              <a:gd name="T17" fmla="*/ 203 h 468"/>
              <a:gd name="T18" fmla="*/ 211 w 518"/>
              <a:gd name="T19" fmla="*/ 116 h 468"/>
              <a:gd name="T20" fmla="*/ 202 w 518"/>
              <a:gd name="T21" fmla="*/ 203 h 468"/>
              <a:gd name="T22" fmla="*/ 163 w 518"/>
              <a:gd name="T23" fmla="*/ 212 h 468"/>
              <a:gd name="T24" fmla="*/ 252 w 518"/>
              <a:gd name="T25" fmla="*/ 374 h 468"/>
              <a:gd name="T26" fmla="*/ 127 w 518"/>
              <a:gd name="T27" fmla="*/ 442 h 468"/>
              <a:gd name="T28" fmla="*/ 19 w 518"/>
              <a:gd name="T29" fmla="*/ 258 h 468"/>
              <a:gd name="T30" fmla="*/ 502 w 518"/>
              <a:gd name="T31" fmla="*/ 258 h 468"/>
              <a:gd name="T32" fmla="*/ 432 w 518"/>
              <a:gd name="T33" fmla="*/ 388 h 468"/>
              <a:gd name="T34" fmla="*/ 415 w 518"/>
              <a:gd name="T35" fmla="*/ 388 h 468"/>
              <a:gd name="T36" fmla="*/ 415 w 518"/>
              <a:gd name="T37" fmla="*/ 448 h 468"/>
              <a:gd name="T38" fmla="*/ 415 w 518"/>
              <a:gd name="T39" fmla="*/ 449 h 468"/>
              <a:gd name="T40" fmla="*/ 416 w 518"/>
              <a:gd name="T41" fmla="*/ 451 h 468"/>
              <a:gd name="T42" fmla="*/ 417 w 518"/>
              <a:gd name="T43" fmla="*/ 452 h 468"/>
              <a:gd name="T44" fmla="*/ 417 w 518"/>
              <a:gd name="T45" fmla="*/ 453 h 468"/>
              <a:gd name="T46" fmla="*/ 419 w 518"/>
              <a:gd name="T47" fmla="*/ 454 h 468"/>
              <a:gd name="T48" fmla="*/ 420 w 518"/>
              <a:gd name="T49" fmla="*/ 455 h 468"/>
              <a:gd name="T50" fmla="*/ 421 w 518"/>
              <a:gd name="T51" fmla="*/ 455 h 468"/>
              <a:gd name="T52" fmla="*/ 423 w 518"/>
              <a:gd name="T53" fmla="*/ 455 h 468"/>
              <a:gd name="T54" fmla="*/ 483 w 518"/>
              <a:gd name="T55" fmla="*/ 455 h 468"/>
              <a:gd name="T56" fmla="*/ 483 w 518"/>
              <a:gd name="T57" fmla="*/ 439 h 468"/>
              <a:gd name="T58" fmla="*/ 180 w 518"/>
              <a:gd name="T59" fmla="*/ 220 h 468"/>
              <a:gd name="T60" fmla="*/ 341 w 518"/>
              <a:gd name="T61" fmla="*/ 258 h 468"/>
              <a:gd name="T62" fmla="*/ 180 w 518"/>
              <a:gd name="T63" fmla="*/ 258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8" h="468">
                <a:moveTo>
                  <a:pt x="483" y="439"/>
                </a:moveTo>
                <a:cubicBezTo>
                  <a:pt x="444" y="439"/>
                  <a:pt x="444" y="439"/>
                  <a:pt x="444" y="439"/>
                </a:cubicBezTo>
                <a:cubicBezTo>
                  <a:pt x="492" y="391"/>
                  <a:pt x="518" y="326"/>
                  <a:pt x="518" y="258"/>
                </a:cubicBezTo>
                <a:cubicBezTo>
                  <a:pt x="518" y="116"/>
                  <a:pt x="403" y="0"/>
                  <a:pt x="261" y="0"/>
                </a:cubicBezTo>
                <a:cubicBezTo>
                  <a:pt x="118" y="0"/>
                  <a:pt x="3" y="116"/>
                  <a:pt x="3" y="258"/>
                </a:cubicBezTo>
                <a:cubicBezTo>
                  <a:pt x="3" y="260"/>
                  <a:pt x="0" y="326"/>
                  <a:pt x="43" y="388"/>
                </a:cubicBezTo>
                <a:cubicBezTo>
                  <a:pt x="44" y="390"/>
                  <a:pt x="73" y="435"/>
                  <a:pt x="119" y="457"/>
                </a:cubicBezTo>
                <a:cubicBezTo>
                  <a:pt x="135" y="465"/>
                  <a:pt x="156" y="468"/>
                  <a:pt x="171" y="468"/>
                </a:cubicBezTo>
                <a:cubicBezTo>
                  <a:pt x="224" y="468"/>
                  <a:pt x="265" y="428"/>
                  <a:pt x="269" y="374"/>
                </a:cubicBezTo>
                <a:cubicBezTo>
                  <a:pt x="319" y="369"/>
                  <a:pt x="358" y="319"/>
                  <a:pt x="358" y="258"/>
                </a:cubicBezTo>
                <a:cubicBezTo>
                  <a:pt x="358" y="212"/>
                  <a:pt x="358" y="212"/>
                  <a:pt x="358" y="212"/>
                </a:cubicBezTo>
                <a:cubicBezTo>
                  <a:pt x="358" y="207"/>
                  <a:pt x="354" y="203"/>
                  <a:pt x="350" y="203"/>
                </a:cubicBezTo>
                <a:cubicBezTo>
                  <a:pt x="319" y="203"/>
                  <a:pt x="319" y="203"/>
                  <a:pt x="319" y="203"/>
                </a:cubicBezTo>
                <a:cubicBezTo>
                  <a:pt x="319" y="124"/>
                  <a:pt x="319" y="124"/>
                  <a:pt x="319" y="124"/>
                </a:cubicBezTo>
                <a:cubicBezTo>
                  <a:pt x="319" y="119"/>
                  <a:pt x="315" y="116"/>
                  <a:pt x="311" y="116"/>
                </a:cubicBezTo>
                <a:cubicBezTo>
                  <a:pt x="306" y="116"/>
                  <a:pt x="302" y="119"/>
                  <a:pt x="302" y="124"/>
                </a:cubicBezTo>
                <a:cubicBezTo>
                  <a:pt x="302" y="203"/>
                  <a:pt x="302" y="203"/>
                  <a:pt x="302" y="203"/>
                </a:cubicBezTo>
                <a:cubicBezTo>
                  <a:pt x="219" y="203"/>
                  <a:pt x="219" y="203"/>
                  <a:pt x="219" y="203"/>
                </a:cubicBezTo>
                <a:cubicBezTo>
                  <a:pt x="219" y="124"/>
                  <a:pt x="219" y="124"/>
                  <a:pt x="219" y="124"/>
                </a:cubicBezTo>
                <a:cubicBezTo>
                  <a:pt x="219" y="119"/>
                  <a:pt x="215" y="116"/>
                  <a:pt x="211" y="116"/>
                </a:cubicBezTo>
                <a:cubicBezTo>
                  <a:pt x="206" y="116"/>
                  <a:pt x="202" y="119"/>
                  <a:pt x="202" y="124"/>
                </a:cubicBezTo>
                <a:cubicBezTo>
                  <a:pt x="202" y="203"/>
                  <a:pt x="202" y="203"/>
                  <a:pt x="202" y="203"/>
                </a:cubicBezTo>
                <a:cubicBezTo>
                  <a:pt x="171" y="203"/>
                  <a:pt x="171" y="203"/>
                  <a:pt x="171" y="203"/>
                </a:cubicBezTo>
                <a:cubicBezTo>
                  <a:pt x="167" y="203"/>
                  <a:pt x="163" y="207"/>
                  <a:pt x="163" y="212"/>
                </a:cubicBezTo>
                <a:cubicBezTo>
                  <a:pt x="163" y="258"/>
                  <a:pt x="163" y="258"/>
                  <a:pt x="163" y="258"/>
                </a:cubicBezTo>
                <a:cubicBezTo>
                  <a:pt x="163" y="318"/>
                  <a:pt x="202" y="368"/>
                  <a:pt x="252" y="374"/>
                </a:cubicBezTo>
                <a:cubicBezTo>
                  <a:pt x="248" y="418"/>
                  <a:pt x="215" y="451"/>
                  <a:pt x="171" y="451"/>
                </a:cubicBezTo>
                <a:cubicBezTo>
                  <a:pt x="155" y="451"/>
                  <a:pt x="137" y="448"/>
                  <a:pt x="127" y="442"/>
                </a:cubicBezTo>
                <a:cubicBezTo>
                  <a:pt x="84" y="422"/>
                  <a:pt x="57" y="379"/>
                  <a:pt x="57" y="379"/>
                </a:cubicBezTo>
                <a:cubicBezTo>
                  <a:pt x="17" y="321"/>
                  <a:pt x="19" y="259"/>
                  <a:pt x="19" y="258"/>
                </a:cubicBezTo>
                <a:cubicBezTo>
                  <a:pt x="19" y="125"/>
                  <a:pt x="128" y="17"/>
                  <a:pt x="261" y="17"/>
                </a:cubicBezTo>
                <a:cubicBezTo>
                  <a:pt x="394" y="17"/>
                  <a:pt x="502" y="125"/>
                  <a:pt x="502" y="258"/>
                </a:cubicBezTo>
                <a:cubicBezTo>
                  <a:pt x="502" y="322"/>
                  <a:pt x="476" y="383"/>
                  <a:pt x="432" y="428"/>
                </a:cubicBezTo>
                <a:cubicBezTo>
                  <a:pt x="432" y="388"/>
                  <a:pt x="432" y="388"/>
                  <a:pt x="432" y="388"/>
                </a:cubicBezTo>
                <a:cubicBezTo>
                  <a:pt x="432" y="383"/>
                  <a:pt x="428" y="380"/>
                  <a:pt x="423" y="380"/>
                </a:cubicBezTo>
                <a:cubicBezTo>
                  <a:pt x="419" y="380"/>
                  <a:pt x="415" y="383"/>
                  <a:pt x="415" y="388"/>
                </a:cubicBezTo>
                <a:cubicBezTo>
                  <a:pt x="415" y="447"/>
                  <a:pt x="415" y="447"/>
                  <a:pt x="415" y="447"/>
                </a:cubicBezTo>
                <a:cubicBezTo>
                  <a:pt x="415" y="447"/>
                  <a:pt x="415" y="447"/>
                  <a:pt x="415" y="448"/>
                </a:cubicBezTo>
                <a:cubicBezTo>
                  <a:pt x="415" y="448"/>
                  <a:pt x="415" y="448"/>
                  <a:pt x="415" y="448"/>
                </a:cubicBezTo>
                <a:cubicBezTo>
                  <a:pt x="415" y="449"/>
                  <a:pt x="415" y="449"/>
                  <a:pt x="415" y="449"/>
                </a:cubicBezTo>
                <a:cubicBezTo>
                  <a:pt x="415" y="450"/>
                  <a:pt x="416" y="450"/>
                  <a:pt x="416" y="450"/>
                </a:cubicBezTo>
                <a:cubicBezTo>
                  <a:pt x="416" y="450"/>
                  <a:pt x="416" y="451"/>
                  <a:pt x="416" y="451"/>
                </a:cubicBezTo>
                <a:cubicBezTo>
                  <a:pt x="416" y="451"/>
                  <a:pt x="416" y="451"/>
                  <a:pt x="416" y="451"/>
                </a:cubicBezTo>
                <a:cubicBezTo>
                  <a:pt x="416" y="452"/>
                  <a:pt x="417" y="452"/>
                  <a:pt x="417" y="452"/>
                </a:cubicBezTo>
                <a:cubicBezTo>
                  <a:pt x="417" y="452"/>
                  <a:pt x="417" y="452"/>
                  <a:pt x="417" y="453"/>
                </a:cubicBezTo>
                <a:cubicBezTo>
                  <a:pt x="417" y="453"/>
                  <a:pt x="417" y="453"/>
                  <a:pt x="417" y="453"/>
                </a:cubicBezTo>
                <a:cubicBezTo>
                  <a:pt x="418" y="453"/>
                  <a:pt x="418" y="453"/>
                  <a:pt x="418" y="453"/>
                </a:cubicBezTo>
                <a:cubicBezTo>
                  <a:pt x="418" y="454"/>
                  <a:pt x="418" y="454"/>
                  <a:pt x="419" y="454"/>
                </a:cubicBezTo>
                <a:cubicBezTo>
                  <a:pt x="419" y="454"/>
                  <a:pt x="419" y="454"/>
                  <a:pt x="419" y="454"/>
                </a:cubicBezTo>
                <a:cubicBezTo>
                  <a:pt x="419" y="454"/>
                  <a:pt x="420" y="455"/>
                  <a:pt x="420" y="455"/>
                </a:cubicBezTo>
                <a:cubicBezTo>
                  <a:pt x="420" y="455"/>
                  <a:pt x="420" y="455"/>
                  <a:pt x="421" y="455"/>
                </a:cubicBezTo>
                <a:cubicBezTo>
                  <a:pt x="421" y="455"/>
                  <a:pt x="421" y="455"/>
                  <a:pt x="421" y="455"/>
                </a:cubicBezTo>
                <a:cubicBezTo>
                  <a:pt x="422" y="455"/>
                  <a:pt x="422" y="455"/>
                  <a:pt x="422" y="455"/>
                </a:cubicBezTo>
                <a:cubicBezTo>
                  <a:pt x="423" y="455"/>
                  <a:pt x="423" y="455"/>
                  <a:pt x="423" y="455"/>
                </a:cubicBezTo>
                <a:cubicBezTo>
                  <a:pt x="423" y="455"/>
                  <a:pt x="423" y="455"/>
                  <a:pt x="423" y="455"/>
                </a:cubicBezTo>
                <a:cubicBezTo>
                  <a:pt x="483" y="455"/>
                  <a:pt x="483" y="455"/>
                  <a:pt x="483" y="455"/>
                </a:cubicBezTo>
                <a:cubicBezTo>
                  <a:pt x="487" y="455"/>
                  <a:pt x="491" y="452"/>
                  <a:pt x="491" y="447"/>
                </a:cubicBezTo>
                <a:cubicBezTo>
                  <a:pt x="491" y="443"/>
                  <a:pt x="487" y="439"/>
                  <a:pt x="483" y="439"/>
                </a:cubicBezTo>
                <a:close/>
                <a:moveTo>
                  <a:pt x="180" y="258"/>
                </a:moveTo>
                <a:cubicBezTo>
                  <a:pt x="180" y="220"/>
                  <a:pt x="180" y="220"/>
                  <a:pt x="180" y="220"/>
                </a:cubicBezTo>
                <a:cubicBezTo>
                  <a:pt x="341" y="220"/>
                  <a:pt x="341" y="220"/>
                  <a:pt x="341" y="220"/>
                </a:cubicBezTo>
                <a:cubicBezTo>
                  <a:pt x="341" y="258"/>
                  <a:pt x="341" y="258"/>
                  <a:pt x="341" y="258"/>
                </a:cubicBezTo>
                <a:cubicBezTo>
                  <a:pt x="341" y="313"/>
                  <a:pt x="305" y="357"/>
                  <a:pt x="261" y="357"/>
                </a:cubicBezTo>
                <a:cubicBezTo>
                  <a:pt x="216" y="357"/>
                  <a:pt x="180" y="313"/>
                  <a:pt x="180" y="258"/>
                </a:cubicBezTo>
                <a:close/>
              </a:path>
            </a:pathLst>
          </a:custGeom>
          <a:solidFill>
            <a:schemeClr val="bg1"/>
          </a:solidFill>
          <a:ln>
            <a:solidFill>
              <a:schemeClr val="bg1"/>
            </a:solidFill>
          </a:ln>
        </p:spPr>
        <p:txBody>
          <a:bodyPr vert="horz" wrap="square" lIns="91440" tIns="45720" rIns="91440" bIns="45720" numCol="1" anchor="t" anchorCtr="0" compatLnSpc="1">
            <a:prstTxWarp prst="textNoShape">
              <a:avLst/>
            </a:prstTxWarp>
          </a:bodyPr>
          <a:lstStyle/>
          <a:p>
            <a:endParaRPr lang="en-US" dirty="0"/>
          </a:p>
        </p:txBody>
      </p:sp>
      <p:grpSp>
        <p:nvGrpSpPr>
          <p:cNvPr id="18" name="Group 17">
            <a:extLst>
              <a:ext uri="{FF2B5EF4-FFF2-40B4-BE49-F238E27FC236}">
                <a16:creationId xmlns:a16="http://schemas.microsoft.com/office/drawing/2014/main" id="{F72A4689-CB40-4117-92CC-D817039E7D85}"/>
              </a:ext>
            </a:extLst>
          </p:cNvPr>
          <p:cNvGrpSpPr>
            <a:grpSpLocks noChangeAspect="1"/>
          </p:cNvGrpSpPr>
          <p:nvPr/>
        </p:nvGrpSpPr>
        <p:grpSpPr>
          <a:xfrm>
            <a:off x="4478121" y="1173253"/>
            <a:ext cx="330791" cy="457200"/>
            <a:chOff x="5718176" y="2622551"/>
            <a:chExt cx="444500" cy="614363"/>
          </a:xfrm>
          <a:solidFill>
            <a:schemeClr val="bg1"/>
          </a:solidFill>
        </p:grpSpPr>
        <p:sp>
          <p:nvSpPr>
            <p:cNvPr id="20" name="Freeform 87">
              <a:extLst>
                <a:ext uri="{FF2B5EF4-FFF2-40B4-BE49-F238E27FC236}">
                  <a16:creationId xmlns:a16="http://schemas.microsoft.com/office/drawing/2014/main" id="{3782A871-AAED-475D-8CC6-06DFD56928F7}"/>
                </a:ext>
              </a:extLst>
            </p:cNvPr>
            <p:cNvSpPr>
              <a:spLocks/>
            </p:cNvSpPr>
            <p:nvPr/>
          </p:nvSpPr>
          <p:spPr bwMode="auto">
            <a:xfrm>
              <a:off x="5889626" y="2903538"/>
              <a:ext cx="115888" cy="214313"/>
            </a:xfrm>
            <a:custGeom>
              <a:avLst/>
              <a:gdLst>
                <a:gd name="T0" fmla="*/ 55 w 112"/>
                <a:gd name="T1" fmla="*/ 0 h 208"/>
                <a:gd name="T2" fmla="*/ 46 w 112"/>
                <a:gd name="T3" fmla="*/ 8 h 208"/>
                <a:gd name="T4" fmla="*/ 46 w 112"/>
                <a:gd name="T5" fmla="*/ 25 h 208"/>
                <a:gd name="T6" fmla="*/ 1 w 112"/>
                <a:gd name="T7" fmla="*/ 67 h 208"/>
                <a:gd name="T8" fmla="*/ 17 w 112"/>
                <a:gd name="T9" fmla="*/ 99 h 208"/>
                <a:gd name="T10" fmla="*/ 61 w 112"/>
                <a:gd name="T11" fmla="*/ 115 h 208"/>
                <a:gd name="T12" fmla="*/ 72 w 112"/>
                <a:gd name="T13" fmla="*/ 118 h 208"/>
                <a:gd name="T14" fmla="*/ 95 w 112"/>
                <a:gd name="T15" fmla="*/ 141 h 208"/>
                <a:gd name="T16" fmla="*/ 55 w 112"/>
                <a:gd name="T17" fmla="*/ 167 h 208"/>
                <a:gd name="T18" fmla="*/ 16 w 112"/>
                <a:gd name="T19" fmla="*/ 150 h 208"/>
                <a:gd name="T20" fmla="*/ 5 w 112"/>
                <a:gd name="T21" fmla="*/ 147 h 208"/>
                <a:gd name="T22" fmla="*/ 2 w 112"/>
                <a:gd name="T23" fmla="*/ 159 h 208"/>
                <a:gd name="T24" fmla="*/ 46 w 112"/>
                <a:gd name="T25" fmla="*/ 183 h 208"/>
                <a:gd name="T26" fmla="*/ 46 w 112"/>
                <a:gd name="T27" fmla="*/ 200 h 208"/>
                <a:gd name="T28" fmla="*/ 55 w 112"/>
                <a:gd name="T29" fmla="*/ 208 h 208"/>
                <a:gd name="T30" fmla="*/ 63 w 112"/>
                <a:gd name="T31" fmla="*/ 200 h 208"/>
                <a:gd name="T32" fmla="*/ 63 w 112"/>
                <a:gd name="T33" fmla="*/ 183 h 208"/>
                <a:gd name="T34" fmla="*/ 112 w 112"/>
                <a:gd name="T35" fmla="*/ 141 h 208"/>
                <a:gd name="T36" fmla="*/ 76 w 112"/>
                <a:gd name="T37" fmla="*/ 102 h 208"/>
                <a:gd name="T38" fmla="*/ 64 w 112"/>
                <a:gd name="T39" fmla="*/ 99 h 208"/>
                <a:gd name="T40" fmla="*/ 63 w 112"/>
                <a:gd name="T41" fmla="*/ 99 h 208"/>
                <a:gd name="T42" fmla="*/ 29 w 112"/>
                <a:gd name="T43" fmla="*/ 87 h 208"/>
                <a:gd name="T44" fmla="*/ 28 w 112"/>
                <a:gd name="T45" fmla="*/ 86 h 208"/>
                <a:gd name="T46" fmla="*/ 18 w 112"/>
                <a:gd name="T47" fmla="*/ 67 h 208"/>
                <a:gd name="T48" fmla="*/ 55 w 112"/>
                <a:gd name="T49" fmla="*/ 41 h 208"/>
                <a:gd name="T50" fmla="*/ 88 w 112"/>
                <a:gd name="T51" fmla="*/ 57 h 208"/>
                <a:gd name="T52" fmla="*/ 100 w 112"/>
                <a:gd name="T53" fmla="*/ 60 h 208"/>
                <a:gd name="T54" fmla="*/ 103 w 112"/>
                <a:gd name="T55" fmla="*/ 49 h 208"/>
                <a:gd name="T56" fmla="*/ 63 w 112"/>
                <a:gd name="T57" fmla="*/ 25 h 208"/>
                <a:gd name="T58" fmla="*/ 63 w 112"/>
                <a:gd name="T59" fmla="*/ 8 h 208"/>
                <a:gd name="T60" fmla="*/ 55 w 112"/>
                <a:gd name="T61"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2" h="208">
                  <a:moveTo>
                    <a:pt x="55" y="0"/>
                  </a:moveTo>
                  <a:cubicBezTo>
                    <a:pt x="50" y="0"/>
                    <a:pt x="46" y="3"/>
                    <a:pt x="46" y="8"/>
                  </a:cubicBezTo>
                  <a:cubicBezTo>
                    <a:pt x="46" y="25"/>
                    <a:pt x="46" y="25"/>
                    <a:pt x="46" y="25"/>
                  </a:cubicBezTo>
                  <a:cubicBezTo>
                    <a:pt x="21" y="28"/>
                    <a:pt x="1" y="46"/>
                    <a:pt x="1" y="67"/>
                  </a:cubicBezTo>
                  <a:cubicBezTo>
                    <a:pt x="1" y="79"/>
                    <a:pt x="7" y="91"/>
                    <a:pt x="17" y="99"/>
                  </a:cubicBezTo>
                  <a:cubicBezTo>
                    <a:pt x="20" y="101"/>
                    <a:pt x="32" y="111"/>
                    <a:pt x="61" y="115"/>
                  </a:cubicBezTo>
                  <a:cubicBezTo>
                    <a:pt x="72" y="118"/>
                    <a:pt x="72" y="118"/>
                    <a:pt x="72" y="118"/>
                  </a:cubicBezTo>
                  <a:cubicBezTo>
                    <a:pt x="93" y="122"/>
                    <a:pt x="95" y="133"/>
                    <a:pt x="95" y="141"/>
                  </a:cubicBezTo>
                  <a:cubicBezTo>
                    <a:pt x="95" y="155"/>
                    <a:pt x="77" y="167"/>
                    <a:pt x="55" y="167"/>
                  </a:cubicBezTo>
                  <a:cubicBezTo>
                    <a:pt x="38" y="167"/>
                    <a:pt x="23" y="160"/>
                    <a:pt x="16" y="150"/>
                  </a:cubicBezTo>
                  <a:cubicBezTo>
                    <a:pt x="14" y="146"/>
                    <a:pt x="9" y="145"/>
                    <a:pt x="5" y="147"/>
                  </a:cubicBezTo>
                  <a:cubicBezTo>
                    <a:pt x="1" y="150"/>
                    <a:pt x="0" y="155"/>
                    <a:pt x="2" y="159"/>
                  </a:cubicBezTo>
                  <a:cubicBezTo>
                    <a:pt x="10" y="172"/>
                    <a:pt x="27" y="181"/>
                    <a:pt x="46" y="183"/>
                  </a:cubicBezTo>
                  <a:cubicBezTo>
                    <a:pt x="46" y="200"/>
                    <a:pt x="46" y="200"/>
                    <a:pt x="46" y="200"/>
                  </a:cubicBezTo>
                  <a:cubicBezTo>
                    <a:pt x="46" y="204"/>
                    <a:pt x="50" y="208"/>
                    <a:pt x="55" y="208"/>
                  </a:cubicBezTo>
                  <a:cubicBezTo>
                    <a:pt x="59" y="208"/>
                    <a:pt x="63" y="204"/>
                    <a:pt x="63" y="200"/>
                  </a:cubicBezTo>
                  <a:cubicBezTo>
                    <a:pt x="63" y="183"/>
                    <a:pt x="63" y="183"/>
                    <a:pt x="63" y="183"/>
                  </a:cubicBezTo>
                  <a:cubicBezTo>
                    <a:pt x="91" y="180"/>
                    <a:pt x="112" y="163"/>
                    <a:pt x="112" y="141"/>
                  </a:cubicBezTo>
                  <a:cubicBezTo>
                    <a:pt x="112" y="127"/>
                    <a:pt x="106" y="108"/>
                    <a:pt x="76" y="102"/>
                  </a:cubicBezTo>
                  <a:cubicBezTo>
                    <a:pt x="64" y="99"/>
                    <a:pt x="64" y="99"/>
                    <a:pt x="64" y="99"/>
                  </a:cubicBezTo>
                  <a:cubicBezTo>
                    <a:pt x="64" y="99"/>
                    <a:pt x="64" y="99"/>
                    <a:pt x="63" y="99"/>
                  </a:cubicBezTo>
                  <a:cubicBezTo>
                    <a:pt x="38" y="95"/>
                    <a:pt x="29" y="87"/>
                    <a:pt x="29" y="87"/>
                  </a:cubicBezTo>
                  <a:cubicBezTo>
                    <a:pt x="28" y="86"/>
                    <a:pt x="28" y="86"/>
                    <a:pt x="28" y="86"/>
                  </a:cubicBezTo>
                  <a:cubicBezTo>
                    <a:pt x="22" y="81"/>
                    <a:pt x="18" y="74"/>
                    <a:pt x="18" y="67"/>
                  </a:cubicBezTo>
                  <a:cubicBezTo>
                    <a:pt x="18" y="53"/>
                    <a:pt x="35" y="41"/>
                    <a:pt x="55" y="41"/>
                  </a:cubicBezTo>
                  <a:cubicBezTo>
                    <a:pt x="69" y="41"/>
                    <a:pt x="83" y="47"/>
                    <a:pt x="88" y="57"/>
                  </a:cubicBezTo>
                  <a:cubicBezTo>
                    <a:pt x="91" y="61"/>
                    <a:pt x="96" y="62"/>
                    <a:pt x="100" y="60"/>
                  </a:cubicBezTo>
                  <a:cubicBezTo>
                    <a:pt x="104" y="58"/>
                    <a:pt x="105" y="53"/>
                    <a:pt x="103" y="49"/>
                  </a:cubicBezTo>
                  <a:cubicBezTo>
                    <a:pt x="95" y="36"/>
                    <a:pt x="80" y="27"/>
                    <a:pt x="63" y="25"/>
                  </a:cubicBezTo>
                  <a:cubicBezTo>
                    <a:pt x="63" y="8"/>
                    <a:pt x="63" y="8"/>
                    <a:pt x="63" y="8"/>
                  </a:cubicBezTo>
                  <a:cubicBezTo>
                    <a:pt x="63" y="3"/>
                    <a:pt x="59" y="0"/>
                    <a:pt x="55"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88">
              <a:extLst>
                <a:ext uri="{FF2B5EF4-FFF2-40B4-BE49-F238E27FC236}">
                  <a16:creationId xmlns:a16="http://schemas.microsoft.com/office/drawing/2014/main" id="{5B5BAC08-77C4-406B-B6F7-326A42F2C158}"/>
                </a:ext>
              </a:extLst>
            </p:cNvPr>
            <p:cNvSpPr>
              <a:spLocks/>
            </p:cNvSpPr>
            <p:nvPr/>
          </p:nvSpPr>
          <p:spPr bwMode="auto">
            <a:xfrm>
              <a:off x="5718176" y="2622551"/>
              <a:ext cx="444500" cy="614363"/>
            </a:xfrm>
            <a:custGeom>
              <a:avLst/>
              <a:gdLst>
                <a:gd name="T0" fmla="*/ 398 w 431"/>
                <a:gd name="T1" fmla="*/ 348 h 594"/>
                <a:gd name="T2" fmla="*/ 261 w 431"/>
                <a:gd name="T3" fmla="*/ 196 h 594"/>
                <a:gd name="T4" fmla="*/ 325 w 431"/>
                <a:gd name="T5" fmla="*/ 121 h 594"/>
                <a:gd name="T6" fmla="*/ 327 w 431"/>
                <a:gd name="T7" fmla="*/ 114 h 594"/>
                <a:gd name="T8" fmla="*/ 323 w 431"/>
                <a:gd name="T9" fmla="*/ 108 h 594"/>
                <a:gd name="T10" fmla="*/ 282 w 431"/>
                <a:gd name="T11" fmla="*/ 83 h 594"/>
                <a:gd name="T12" fmla="*/ 270 w 431"/>
                <a:gd name="T13" fmla="*/ 86 h 594"/>
                <a:gd name="T14" fmla="*/ 273 w 431"/>
                <a:gd name="T15" fmla="*/ 97 h 594"/>
                <a:gd name="T16" fmla="*/ 306 w 431"/>
                <a:gd name="T17" fmla="*/ 117 h 594"/>
                <a:gd name="T18" fmla="*/ 242 w 431"/>
                <a:gd name="T19" fmla="*/ 192 h 594"/>
                <a:gd name="T20" fmla="*/ 240 w 431"/>
                <a:gd name="T21" fmla="*/ 199 h 594"/>
                <a:gd name="T22" fmla="*/ 244 w 431"/>
                <a:gd name="T23" fmla="*/ 204 h 594"/>
                <a:gd name="T24" fmla="*/ 383 w 431"/>
                <a:gd name="T25" fmla="*/ 356 h 594"/>
                <a:gd name="T26" fmla="*/ 383 w 431"/>
                <a:gd name="T27" fmla="*/ 475 h 594"/>
                <a:gd name="T28" fmla="*/ 68 w 431"/>
                <a:gd name="T29" fmla="*/ 491 h 594"/>
                <a:gd name="T30" fmla="*/ 28 w 431"/>
                <a:gd name="T31" fmla="*/ 441 h 594"/>
                <a:gd name="T32" fmla="*/ 57 w 431"/>
                <a:gd name="T33" fmla="*/ 340 h 594"/>
                <a:gd name="T34" fmla="*/ 58 w 431"/>
                <a:gd name="T35" fmla="*/ 339 h 594"/>
                <a:gd name="T36" fmla="*/ 211 w 431"/>
                <a:gd name="T37" fmla="*/ 204 h 594"/>
                <a:gd name="T38" fmla="*/ 216 w 431"/>
                <a:gd name="T39" fmla="*/ 193 h 594"/>
                <a:gd name="T40" fmla="*/ 205 w 431"/>
                <a:gd name="T41" fmla="*/ 188 h 594"/>
                <a:gd name="T42" fmla="*/ 187 w 431"/>
                <a:gd name="T43" fmla="*/ 196 h 594"/>
                <a:gd name="T44" fmla="*/ 125 w 431"/>
                <a:gd name="T45" fmla="*/ 115 h 594"/>
                <a:gd name="T46" fmla="*/ 160 w 431"/>
                <a:gd name="T47" fmla="*/ 90 h 594"/>
                <a:gd name="T48" fmla="*/ 186 w 431"/>
                <a:gd name="T49" fmla="*/ 139 h 594"/>
                <a:gd name="T50" fmla="*/ 193 w 431"/>
                <a:gd name="T51" fmla="*/ 143 h 594"/>
                <a:gd name="T52" fmla="*/ 197 w 431"/>
                <a:gd name="T53" fmla="*/ 142 h 594"/>
                <a:gd name="T54" fmla="*/ 200 w 431"/>
                <a:gd name="T55" fmla="*/ 131 h 594"/>
                <a:gd name="T56" fmla="*/ 162 w 431"/>
                <a:gd name="T57" fmla="*/ 58 h 594"/>
                <a:gd name="T58" fmla="*/ 283 w 431"/>
                <a:gd name="T59" fmla="*/ 68 h 594"/>
                <a:gd name="T60" fmla="*/ 295 w 431"/>
                <a:gd name="T61" fmla="*/ 67 h 594"/>
                <a:gd name="T62" fmla="*/ 294 w 431"/>
                <a:gd name="T63" fmla="*/ 55 h 594"/>
                <a:gd name="T64" fmla="*/ 146 w 431"/>
                <a:gd name="T65" fmla="*/ 48 h 594"/>
                <a:gd name="T66" fmla="*/ 143 w 431"/>
                <a:gd name="T67" fmla="*/ 59 h 594"/>
                <a:gd name="T68" fmla="*/ 152 w 431"/>
                <a:gd name="T69" fmla="*/ 75 h 594"/>
                <a:gd name="T70" fmla="*/ 107 w 431"/>
                <a:gd name="T71" fmla="*/ 116 h 594"/>
                <a:gd name="T72" fmla="*/ 110 w 431"/>
                <a:gd name="T73" fmla="*/ 123 h 594"/>
                <a:gd name="T74" fmla="*/ 172 w 431"/>
                <a:gd name="T75" fmla="*/ 204 h 594"/>
                <a:gd name="T76" fmla="*/ 43 w 431"/>
                <a:gd name="T77" fmla="*/ 331 h 594"/>
                <a:gd name="T78" fmla="*/ 12 w 431"/>
                <a:gd name="T79" fmla="*/ 444 h 594"/>
                <a:gd name="T80" fmla="*/ 60 w 431"/>
                <a:gd name="T81" fmla="*/ 505 h 594"/>
                <a:gd name="T82" fmla="*/ 223 w 431"/>
                <a:gd name="T83" fmla="*/ 549 h 594"/>
                <a:gd name="T84" fmla="*/ 394 w 431"/>
                <a:gd name="T85" fmla="*/ 488 h 594"/>
                <a:gd name="T86" fmla="*/ 398 w 431"/>
                <a:gd name="T87" fmla="*/ 348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1" h="594">
                  <a:moveTo>
                    <a:pt x="398" y="348"/>
                  </a:moveTo>
                  <a:cubicBezTo>
                    <a:pt x="396" y="345"/>
                    <a:pt x="356" y="264"/>
                    <a:pt x="261" y="196"/>
                  </a:cubicBezTo>
                  <a:cubicBezTo>
                    <a:pt x="325" y="121"/>
                    <a:pt x="325" y="121"/>
                    <a:pt x="325" y="121"/>
                  </a:cubicBezTo>
                  <a:cubicBezTo>
                    <a:pt x="326" y="119"/>
                    <a:pt x="327" y="116"/>
                    <a:pt x="327" y="114"/>
                  </a:cubicBezTo>
                  <a:cubicBezTo>
                    <a:pt x="326" y="111"/>
                    <a:pt x="325" y="109"/>
                    <a:pt x="323" y="108"/>
                  </a:cubicBezTo>
                  <a:cubicBezTo>
                    <a:pt x="323" y="108"/>
                    <a:pt x="301" y="95"/>
                    <a:pt x="282" y="83"/>
                  </a:cubicBezTo>
                  <a:cubicBezTo>
                    <a:pt x="278" y="81"/>
                    <a:pt x="273" y="82"/>
                    <a:pt x="270" y="86"/>
                  </a:cubicBezTo>
                  <a:cubicBezTo>
                    <a:pt x="268" y="90"/>
                    <a:pt x="269" y="95"/>
                    <a:pt x="273" y="97"/>
                  </a:cubicBezTo>
                  <a:cubicBezTo>
                    <a:pt x="285" y="105"/>
                    <a:pt x="298" y="112"/>
                    <a:pt x="306" y="117"/>
                  </a:cubicBezTo>
                  <a:cubicBezTo>
                    <a:pt x="242" y="192"/>
                    <a:pt x="242" y="192"/>
                    <a:pt x="242" y="192"/>
                  </a:cubicBezTo>
                  <a:cubicBezTo>
                    <a:pt x="240" y="194"/>
                    <a:pt x="240" y="196"/>
                    <a:pt x="240" y="199"/>
                  </a:cubicBezTo>
                  <a:cubicBezTo>
                    <a:pt x="240" y="201"/>
                    <a:pt x="242" y="203"/>
                    <a:pt x="244" y="204"/>
                  </a:cubicBezTo>
                  <a:cubicBezTo>
                    <a:pt x="340" y="271"/>
                    <a:pt x="382" y="355"/>
                    <a:pt x="383" y="356"/>
                  </a:cubicBezTo>
                  <a:cubicBezTo>
                    <a:pt x="412" y="409"/>
                    <a:pt x="412" y="448"/>
                    <a:pt x="383" y="475"/>
                  </a:cubicBezTo>
                  <a:cubicBezTo>
                    <a:pt x="236" y="594"/>
                    <a:pt x="71" y="492"/>
                    <a:pt x="68" y="491"/>
                  </a:cubicBezTo>
                  <a:cubicBezTo>
                    <a:pt x="46" y="478"/>
                    <a:pt x="33" y="462"/>
                    <a:pt x="28" y="441"/>
                  </a:cubicBezTo>
                  <a:cubicBezTo>
                    <a:pt x="18" y="394"/>
                    <a:pt x="57" y="341"/>
                    <a:pt x="57" y="340"/>
                  </a:cubicBezTo>
                  <a:cubicBezTo>
                    <a:pt x="57" y="340"/>
                    <a:pt x="58" y="340"/>
                    <a:pt x="58" y="339"/>
                  </a:cubicBezTo>
                  <a:cubicBezTo>
                    <a:pt x="118" y="236"/>
                    <a:pt x="210" y="204"/>
                    <a:pt x="211" y="204"/>
                  </a:cubicBezTo>
                  <a:cubicBezTo>
                    <a:pt x="215" y="202"/>
                    <a:pt x="217" y="197"/>
                    <a:pt x="216" y="193"/>
                  </a:cubicBezTo>
                  <a:cubicBezTo>
                    <a:pt x="214" y="189"/>
                    <a:pt x="210" y="186"/>
                    <a:pt x="205" y="188"/>
                  </a:cubicBezTo>
                  <a:cubicBezTo>
                    <a:pt x="204" y="188"/>
                    <a:pt x="198" y="191"/>
                    <a:pt x="187" y="196"/>
                  </a:cubicBezTo>
                  <a:cubicBezTo>
                    <a:pt x="183" y="182"/>
                    <a:pt x="171" y="154"/>
                    <a:pt x="125" y="115"/>
                  </a:cubicBezTo>
                  <a:cubicBezTo>
                    <a:pt x="129" y="110"/>
                    <a:pt x="137" y="101"/>
                    <a:pt x="160" y="90"/>
                  </a:cubicBezTo>
                  <a:cubicBezTo>
                    <a:pt x="186" y="139"/>
                    <a:pt x="186" y="139"/>
                    <a:pt x="186" y="139"/>
                  </a:cubicBezTo>
                  <a:cubicBezTo>
                    <a:pt x="187" y="141"/>
                    <a:pt x="190" y="143"/>
                    <a:pt x="193" y="143"/>
                  </a:cubicBezTo>
                  <a:cubicBezTo>
                    <a:pt x="194" y="143"/>
                    <a:pt x="196" y="143"/>
                    <a:pt x="197" y="142"/>
                  </a:cubicBezTo>
                  <a:cubicBezTo>
                    <a:pt x="201" y="140"/>
                    <a:pt x="203" y="135"/>
                    <a:pt x="200" y="131"/>
                  </a:cubicBezTo>
                  <a:cubicBezTo>
                    <a:pt x="162" y="58"/>
                    <a:pt x="162" y="58"/>
                    <a:pt x="162" y="58"/>
                  </a:cubicBezTo>
                  <a:cubicBezTo>
                    <a:pt x="182" y="49"/>
                    <a:pt x="238" y="28"/>
                    <a:pt x="283" y="68"/>
                  </a:cubicBezTo>
                  <a:cubicBezTo>
                    <a:pt x="287" y="71"/>
                    <a:pt x="292" y="70"/>
                    <a:pt x="295" y="67"/>
                  </a:cubicBezTo>
                  <a:cubicBezTo>
                    <a:pt x="298" y="63"/>
                    <a:pt x="298" y="58"/>
                    <a:pt x="294" y="55"/>
                  </a:cubicBezTo>
                  <a:cubicBezTo>
                    <a:pt x="231" y="0"/>
                    <a:pt x="147" y="47"/>
                    <a:pt x="146" y="48"/>
                  </a:cubicBezTo>
                  <a:cubicBezTo>
                    <a:pt x="142" y="50"/>
                    <a:pt x="141" y="55"/>
                    <a:pt x="143" y="59"/>
                  </a:cubicBezTo>
                  <a:cubicBezTo>
                    <a:pt x="152" y="75"/>
                    <a:pt x="152" y="75"/>
                    <a:pt x="152" y="75"/>
                  </a:cubicBezTo>
                  <a:cubicBezTo>
                    <a:pt x="111" y="95"/>
                    <a:pt x="107" y="113"/>
                    <a:pt x="107" y="116"/>
                  </a:cubicBezTo>
                  <a:cubicBezTo>
                    <a:pt x="107" y="119"/>
                    <a:pt x="108" y="121"/>
                    <a:pt x="110" y="123"/>
                  </a:cubicBezTo>
                  <a:cubicBezTo>
                    <a:pt x="165" y="170"/>
                    <a:pt x="171" y="199"/>
                    <a:pt x="172" y="204"/>
                  </a:cubicBezTo>
                  <a:cubicBezTo>
                    <a:pt x="138" y="223"/>
                    <a:pt x="84" y="261"/>
                    <a:pt x="43" y="331"/>
                  </a:cubicBezTo>
                  <a:cubicBezTo>
                    <a:pt x="39" y="336"/>
                    <a:pt x="0" y="392"/>
                    <a:pt x="12" y="444"/>
                  </a:cubicBezTo>
                  <a:cubicBezTo>
                    <a:pt x="17" y="470"/>
                    <a:pt x="34" y="490"/>
                    <a:pt x="60" y="505"/>
                  </a:cubicBezTo>
                  <a:cubicBezTo>
                    <a:pt x="61" y="506"/>
                    <a:pt x="131" y="549"/>
                    <a:pt x="223" y="549"/>
                  </a:cubicBezTo>
                  <a:cubicBezTo>
                    <a:pt x="276" y="549"/>
                    <a:pt x="336" y="534"/>
                    <a:pt x="394" y="488"/>
                  </a:cubicBezTo>
                  <a:cubicBezTo>
                    <a:pt x="430" y="454"/>
                    <a:pt x="431" y="407"/>
                    <a:pt x="398" y="34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215023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1" y="2368105"/>
            <a:ext cx="7772400" cy="788293"/>
          </a:xfrm>
        </p:spPr>
        <p:txBody>
          <a:bodyPr/>
          <a:lstStyle/>
          <a:p>
            <a:r>
              <a:rPr lang="en-US" dirty="0"/>
              <a:t>2022-2024 Preview</a:t>
            </a:r>
          </a:p>
        </p:txBody>
      </p:sp>
      <p:sp>
        <p:nvSpPr>
          <p:cNvPr id="4" name="Slide Number Placeholder 3"/>
          <p:cNvSpPr>
            <a:spLocks noGrp="1"/>
          </p:cNvSpPr>
          <p:nvPr>
            <p:ph type="sldNum" sz="quarter" idx="11"/>
          </p:nvPr>
        </p:nvSpPr>
        <p:spPr/>
        <p:txBody>
          <a:bodyPr/>
          <a:lstStyle/>
          <a:p>
            <a:fld id="{5F113B49-C4D2-453F-848F-33FCBA6F44B6}" type="slidenum">
              <a:rPr lang="en-US" smtClean="0"/>
              <a:pPr/>
              <a:t>4</a:t>
            </a:fld>
            <a:endParaRPr lang="en-US" dirty="0"/>
          </a:p>
        </p:txBody>
      </p:sp>
    </p:spTree>
    <p:extLst>
      <p:ext uri="{BB962C8B-B14F-4D97-AF65-F5344CB8AC3E}">
        <p14:creationId xmlns:p14="http://schemas.microsoft.com/office/powerpoint/2010/main" val="5690806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4C65811-3935-434E-8630-9654D3F4CCD2}"/>
              </a:ext>
            </a:extLst>
          </p:cNvPr>
          <p:cNvGraphicFramePr>
            <a:graphicFrameLocks noChangeAspect="1"/>
          </p:cNvGraphicFramePr>
          <p:nvPr>
            <p:custDataLst>
              <p:tags r:id="rId2"/>
            </p:custDataLst>
            <p:extLst>
              <p:ext uri="{D42A27DB-BD31-4B8C-83A1-F6EECF244321}">
                <p14:modId xmlns:p14="http://schemas.microsoft.com/office/powerpoint/2010/main" val="278482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4" imgW="395" imgH="396" progId="TCLayout.ActiveDocument.1">
                  <p:embed/>
                </p:oleObj>
              </mc:Choice>
              <mc:Fallback>
                <p:oleObj name="think-cell Slide" r:id="rId4" imgW="395" imgH="396" progId="TCLayout.ActiveDocument.1">
                  <p:embed/>
                  <p:pic>
                    <p:nvPicPr>
                      <p:cNvPr id="13" name="Object 12" hidden="1">
                        <a:extLst>
                          <a:ext uri="{FF2B5EF4-FFF2-40B4-BE49-F238E27FC236}">
                            <a16:creationId xmlns:a16="http://schemas.microsoft.com/office/drawing/2014/main" id="{B4C65811-3935-434E-8630-9654D3F4CC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Rectangle 49">
            <a:extLst>
              <a:ext uri="{FF2B5EF4-FFF2-40B4-BE49-F238E27FC236}">
                <a16:creationId xmlns:a16="http://schemas.microsoft.com/office/drawing/2014/main" id="{10ACABDF-BA3F-472A-B911-DF6D8DC2891B}"/>
              </a:ext>
            </a:extLst>
          </p:cNvPr>
          <p:cNvSpPr/>
          <p:nvPr/>
        </p:nvSpPr>
        <p:spPr>
          <a:xfrm>
            <a:off x="4835249" y="5090232"/>
            <a:ext cx="3277140" cy="1313858"/>
          </a:xfrm>
          <a:prstGeom prst="rect">
            <a:avLst/>
          </a:prstGeom>
          <a:solidFill>
            <a:srgbClr val="C55422"/>
          </a:solidFill>
          <a:ln>
            <a:solidFill>
              <a:srgbClr val="C554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a:extLst>
              <a:ext uri="{FF2B5EF4-FFF2-40B4-BE49-F238E27FC236}">
                <a16:creationId xmlns:a16="http://schemas.microsoft.com/office/drawing/2014/main" id="{23EAD13C-3A9F-44C5-BF88-E724776B8264}"/>
              </a:ext>
            </a:extLst>
          </p:cNvPr>
          <p:cNvSpPr/>
          <p:nvPr/>
        </p:nvSpPr>
        <p:spPr>
          <a:xfrm>
            <a:off x="4835249" y="3455061"/>
            <a:ext cx="3277140" cy="1313858"/>
          </a:xfrm>
          <a:prstGeom prst="rect">
            <a:avLst/>
          </a:prstGeom>
          <a:solidFill>
            <a:srgbClr val="C55422"/>
          </a:solidFill>
          <a:ln>
            <a:solidFill>
              <a:srgbClr val="C554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46">
            <a:extLst>
              <a:ext uri="{FF2B5EF4-FFF2-40B4-BE49-F238E27FC236}">
                <a16:creationId xmlns:a16="http://schemas.microsoft.com/office/drawing/2014/main" id="{6CE5E192-6A15-427A-B6B9-D49B3830228A}"/>
              </a:ext>
            </a:extLst>
          </p:cNvPr>
          <p:cNvSpPr/>
          <p:nvPr/>
        </p:nvSpPr>
        <p:spPr>
          <a:xfrm>
            <a:off x="4840941" y="1859649"/>
            <a:ext cx="3277140" cy="1313858"/>
          </a:xfrm>
          <a:prstGeom prst="rect">
            <a:avLst/>
          </a:prstGeom>
          <a:solidFill>
            <a:srgbClr val="C55422"/>
          </a:solidFill>
          <a:ln>
            <a:solidFill>
              <a:srgbClr val="C554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513250" y="397414"/>
            <a:ext cx="6791968" cy="452753"/>
          </a:xfrm>
        </p:spPr>
        <p:txBody>
          <a:bodyPr vert="horz"/>
          <a:lstStyle/>
          <a:p>
            <a:r>
              <a:rPr lang="en-US" dirty="0"/>
              <a:t>2022-24 Single-Family Overview</a:t>
            </a:r>
          </a:p>
        </p:txBody>
      </p:sp>
      <p:sp>
        <p:nvSpPr>
          <p:cNvPr id="4" name="Slide Number Placeholder 3"/>
          <p:cNvSpPr>
            <a:spLocks noGrp="1"/>
          </p:cNvSpPr>
          <p:nvPr>
            <p:ph type="sldNum" sz="quarter" idx="11"/>
          </p:nvPr>
        </p:nvSpPr>
        <p:spPr/>
        <p:txBody>
          <a:bodyPr/>
          <a:lstStyle/>
          <a:p>
            <a:fld id="{5F113B49-C4D2-453F-848F-33FCBA6F44B6}" type="slidenum">
              <a:rPr lang="en-US" smtClean="0"/>
              <a:pPr/>
              <a:t>5</a:t>
            </a:fld>
            <a:endParaRPr lang="en-US" dirty="0"/>
          </a:p>
        </p:txBody>
      </p:sp>
      <p:sp>
        <p:nvSpPr>
          <p:cNvPr id="6" name="Text Placeholder 5"/>
          <p:cNvSpPr>
            <a:spLocks noGrp="1"/>
          </p:cNvSpPr>
          <p:nvPr>
            <p:ph type="body" sz="quarter" idx="14"/>
          </p:nvPr>
        </p:nvSpPr>
        <p:spPr>
          <a:xfrm>
            <a:off x="1534279" y="855021"/>
            <a:ext cx="4847061" cy="246445"/>
          </a:xfrm>
        </p:spPr>
        <p:txBody>
          <a:bodyPr/>
          <a:lstStyle/>
          <a:p>
            <a:r>
              <a:rPr lang="en-US" dirty="0"/>
              <a:t>Preview of next plan cycle</a:t>
            </a:r>
          </a:p>
        </p:txBody>
      </p:sp>
      <p:pic>
        <p:nvPicPr>
          <p:cNvPr id="65" name="Picture 64" descr="Icon&#10;&#10;Description automatically generated">
            <a:extLst>
              <a:ext uri="{FF2B5EF4-FFF2-40B4-BE49-F238E27FC236}">
                <a16:creationId xmlns:a16="http://schemas.microsoft.com/office/drawing/2014/main" id="{06D749B3-3623-4D36-B851-EEDDA62059D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21582" y="2079280"/>
            <a:ext cx="914400" cy="914400"/>
          </a:xfrm>
          <a:prstGeom prst="rect">
            <a:avLst/>
          </a:prstGeom>
        </p:spPr>
      </p:pic>
      <p:pic>
        <p:nvPicPr>
          <p:cNvPr id="68" name="Picture 67" descr="Icon&#10;&#10;Description automatically generated">
            <a:extLst>
              <a:ext uri="{FF2B5EF4-FFF2-40B4-BE49-F238E27FC236}">
                <a16:creationId xmlns:a16="http://schemas.microsoft.com/office/drawing/2014/main" id="{B14ACAC6-5983-4356-9C65-5C8EDF546C6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79114" y="2073812"/>
            <a:ext cx="914400" cy="914400"/>
          </a:xfrm>
          <a:prstGeom prst="rect">
            <a:avLst/>
          </a:prstGeom>
        </p:spPr>
      </p:pic>
      <p:pic>
        <p:nvPicPr>
          <p:cNvPr id="70" name="Picture 69" descr="Icon&#10;&#10;Description automatically generated">
            <a:extLst>
              <a:ext uri="{FF2B5EF4-FFF2-40B4-BE49-F238E27FC236}">
                <a16:creationId xmlns:a16="http://schemas.microsoft.com/office/drawing/2014/main" id="{414EB17E-4F05-4974-80E3-39B670839BB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79114" y="5287862"/>
            <a:ext cx="914400" cy="914400"/>
          </a:xfrm>
          <a:prstGeom prst="rect">
            <a:avLst/>
          </a:prstGeom>
        </p:spPr>
      </p:pic>
      <p:pic>
        <p:nvPicPr>
          <p:cNvPr id="72" name="Picture 71" descr="Icon&#10;&#10;Description automatically generated">
            <a:extLst>
              <a:ext uri="{FF2B5EF4-FFF2-40B4-BE49-F238E27FC236}">
                <a16:creationId xmlns:a16="http://schemas.microsoft.com/office/drawing/2014/main" id="{7F6E6F15-2E08-4ED5-B07B-F8D7A25BE04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21582" y="3615281"/>
            <a:ext cx="914400" cy="914400"/>
          </a:xfrm>
          <a:prstGeom prst="rect">
            <a:avLst/>
          </a:prstGeom>
        </p:spPr>
      </p:pic>
      <p:pic>
        <p:nvPicPr>
          <p:cNvPr id="76" name="Picture 75" descr="Logo, icon&#10;&#10;Description automatically generated">
            <a:extLst>
              <a:ext uri="{FF2B5EF4-FFF2-40B4-BE49-F238E27FC236}">
                <a16:creationId xmlns:a16="http://schemas.microsoft.com/office/drawing/2014/main" id="{BE75B702-7CA9-4222-B40D-2455F716176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630263" y="5287863"/>
            <a:ext cx="914400" cy="914400"/>
          </a:xfrm>
          <a:prstGeom prst="rect">
            <a:avLst/>
          </a:prstGeom>
        </p:spPr>
      </p:pic>
      <p:sp>
        <p:nvSpPr>
          <p:cNvPr id="78" name="TextBox 77">
            <a:extLst>
              <a:ext uri="{FF2B5EF4-FFF2-40B4-BE49-F238E27FC236}">
                <a16:creationId xmlns:a16="http://schemas.microsoft.com/office/drawing/2014/main" id="{E9BF1E44-BFCD-4997-9B25-0BC4250D6B03}"/>
              </a:ext>
            </a:extLst>
          </p:cNvPr>
          <p:cNvSpPr txBox="1"/>
          <p:nvPr/>
        </p:nvSpPr>
        <p:spPr>
          <a:xfrm>
            <a:off x="2581645" y="2143214"/>
            <a:ext cx="2021320" cy="775597"/>
          </a:xfrm>
          <a:prstGeom prst="rect">
            <a:avLst/>
          </a:prstGeom>
          <a:noFill/>
        </p:spPr>
        <p:txBody>
          <a:bodyPr wrap="square" lIns="0" tIns="0" rIns="0" bIns="0" numCol="1" spcCol="228600" rtlCol="0">
            <a:spAutoFit/>
          </a:bodyPr>
          <a:lstStyle/>
          <a:p>
            <a:pPr algn="ctr">
              <a:lnSpc>
                <a:spcPct val="90000"/>
              </a:lnSpc>
              <a:spcAft>
                <a:spcPts val="1200"/>
              </a:spcAft>
            </a:pPr>
            <a:r>
              <a:rPr lang="en-US" sz="1400" dirty="0"/>
              <a:t>Focus on financing MHRP located in communities and MH located in fee simple subdivisions</a:t>
            </a:r>
          </a:p>
        </p:txBody>
      </p:sp>
      <p:sp>
        <p:nvSpPr>
          <p:cNvPr id="79" name="TextBox 78">
            <a:extLst>
              <a:ext uri="{FF2B5EF4-FFF2-40B4-BE49-F238E27FC236}">
                <a16:creationId xmlns:a16="http://schemas.microsoft.com/office/drawing/2014/main" id="{4CEB6C5E-8E2D-4514-86FA-B6C5394DF083}"/>
              </a:ext>
            </a:extLst>
          </p:cNvPr>
          <p:cNvSpPr txBox="1"/>
          <p:nvPr/>
        </p:nvSpPr>
        <p:spPr>
          <a:xfrm>
            <a:off x="2612129" y="3698194"/>
            <a:ext cx="2080372" cy="861774"/>
          </a:xfrm>
          <a:prstGeom prst="rect">
            <a:avLst/>
          </a:prstGeom>
          <a:noFill/>
        </p:spPr>
        <p:txBody>
          <a:bodyPr wrap="square" lIns="0" tIns="0" rIns="0" bIns="0" numCol="1" spcCol="228600" rtlCol="0">
            <a:spAutoFit/>
          </a:bodyPr>
          <a:lstStyle/>
          <a:p>
            <a:pPr lvl="0" algn="ctr"/>
            <a:r>
              <a:rPr lang="en-US" sz="1400" dirty="0"/>
              <a:t>Down payment assistance initiative that improves access to affordable financing</a:t>
            </a:r>
          </a:p>
        </p:txBody>
      </p:sp>
      <p:sp>
        <p:nvSpPr>
          <p:cNvPr id="82" name="TextBox 81">
            <a:extLst>
              <a:ext uri="{FF2B5EF4-FFF2-40B4-BE49-F238E27FC236}">
                <a16:creationId xmlns:a16="http://schemas.microsoft.com/office/drawing/2014/main" id="{241E6E9B-D815-423B-A672-859C3E8DEB07}"/>
              </a:ext>
            </a:extLst>
          </p:cNvPr>
          <p:cNvSpPr txBox="1"/>
          <p:nvPr/>
        </p:nvSpPr>
        <p:spPr>
          <a:xfrm>
            <a:off x="5918979" y="2205863"/>
            <a:ext cx="2193410" cy="646331"/>
          </a:xfrm>
          <a:prstGeom prst="rect">
            <a:avLst/>
          </a:prstGeom>
          <a:noFill/>
        </p:spPr>
        <p:txBody>
          <a:bodyPr wrap="square" lIns="0" tIns="0" rIns="0" bIns="0" numCol="1" spcCol="228600" rtlCol="0">
            <a:spAutoFit/>
          </a:bodyPr>
          <a:lstStyle/>
          <a:p>
            <a:pPr lvl="0" algn="ctr">
              <a:lnSpc>
                <a:spcPct val="100000"/>
              </a:lnSpc>
            </a:pPr>
            <a:r>
              <a:rPr lang="en-US" sz="1400" dirty="0">
                <a:solidFill>
                  <a:schemeClr val="bg1"/>
                </a:solidFill>
              </a:rPr>
              <a:t>Green, social or sustainable bond offering that includes DTS-eligible loans</a:t>
            </a:r>
          </a:p>
        </p:txBody>
      </p:sp>
      <p:sp>
        <p:nvSpPr>
          <p:cNvPr id="83" name="TextBox 82">
            <a:extLst>
              <a:ext uri="{FF2B5EF4-FFF2-40B4-BE49-F238E27FC236}">
                <a16:creationId xmlns:a16="http://schemas.microsoft.com/office/drawing/2014/main" id="{3297C52B-F4AF-4BFB-BE52-59DA76FFE302}"/>
              </a:ext>
            </a:extLst>
          </p:cNvPr>
          <p:cNvSpPr txBox="1"/>
          <p:nvPr/>
        </p:nvSpPr>
        <p:spPr>
          <a:xfrm>
            <a:off x="5973351" y="5374240"/>
            <a:ext cx="1857291" cy="646331"/>
          </a:xfrm>
          <a:prstGeom prst="rect">
            <a:avLst/>
          </a:prstGeom>
          <a:noFill/>
        </p:spPr>
        <p:txBody>
          <a:bodyPr wrap="square" lIns="0" tIns="0" rIns="0" bIns="0" numCol="1" spcCol="228600" rtlCol="0">
            <a:spAutoFit/>
          </a:bodyPr>
          <a:lstStyle/>
          <a:p>
            <a:pPr lvl="0" algn="ctr">
              <a:lnSpc>
                <a:spcPct val="100000"/>
              </a:lnSpc>
            </a:pPr>
            <a:r>
              <a:rPr lang="en-US" sz="1400" dirty="0">
                <a:solidFill>
                  <a:schemeClr val="bg1"/>
                </a:solidFill>
              </a:rPr>
              <a:t>Leverage our REO inventory to support affordable supply efforts</a:t>
            </a:r>
          </a:p>
        </p:txBody>
      </p:sp>
      <p:sp>
        <p:nvSpPr>
          <p:cNvPr id="84" name="TextBox 83">
            <a:extLst>
              <a:ext uri="{FF2B5EF4-FFF2-40B4-BE49-F238E27FC236}">
                <a16:creationId xmlns:a16="http://schemas.microsoft.com/office/drawing/2014/main" id="{273277F9-27DF-41F5-95E0-30644A6C77DE}"/>
              </a:ext>
            </a:extLst>
          </p:cNvPr>
          <p:cNvSpPr txBox="1"/>
          <p:nvPr/>
        </p:nvSpPr>
        <p:spPr>
          <a:xfrm>
            <a:off x="2589865" y="5421896"/>
            <a:ext cx="1860699" cy="646331"/>
          </a:xfrm>
          <a:prstGeom prst="rect">
            <a:avLst/>
          </a:prstGeom>
          <a:noFill/>
        </p:spPr>
        <p:txBody>
          <a:bodyPr wrap="square" lIns="0" tIns="0" rIns="0" bIns="0" numCol="1" spcCol="228600" rtlCol="0">
            <a:spAutoFit/>
          </a:bodyPr>
          <a:lstStyle/>
          <a:p>
            <a:pPr lvl="0" algn="ctr">
              <a:lnSpc>
                <a:spcPct val="100000"/>
              </a:lnSpc>
            </a:pPr>
            <a:r>
              <a:rPr lang="en-US" sz="1400" dirty="0"/>
              <a:t>Native CDFI capacity building to solve for serving tribal trust land </a:t>
            </a:r>
          </a:p>
        </p:txBody>
      </p:sp>
      <p:pic>
        <p:nvPicPr>
          <p:cNvPr id="86" name="Picture 85" descr="Icon&#10;&#10;Description automatically generated">
            <a:extLst>
              <a:ext uri="{FF2B5EF4-FFF2-40B4-BE49-F238E27FC236}">
                <a16:creationId xmlns:a16="http://schemas.microsoft.com/office/drawing/2014/main" id="{F7950B1E-96BA-47C1-80D2-C58C42B4A55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979114" y="3615280"/>
            <a:ext cx="914400" cy="914400"/>
          </a:xfrm>
          <a:prstGeom prst="rect">
            <a:avLst/>
          </a:prstGeom>
        </p:spPr>
      </p:pic>
      <p:sp>
        <p:nvSpPr>
          <p:cNvPr id="87" name="TextBox 86">
            <a:extLst>
              <a:ext uri="{FF2B5EF4-FFF2-40B4-BE49-F238E27FC236}">
                <a16:creationId xmlns:a16="http://schemas.microsoft.com/office/drawing/2014/main" id="{10A7D6D0-5CF3-423A-8524-B81506D93BA9}"/>
              </a:ext>
            </a:extLst>
          </p:cNvPr>
          <p:cNvSpPr txBox="1"/>
          <p:nvPr/>
        </p:nvSpPr>
        <p:spPr>
          <a:xfrm>
            <a:off x="5973352" y="3749314"/>
            <a:ext cx="1857291" cy="646331"/>
          </a:xfrm>
          <a:prstGeom prst="rect">
            <a:avLst/>
          </a:prstGeom>
          <a:noFill/>
        </p:spPr>
        <p:txBody>
          <a:bodyPr wrap="square" lIns="0" tIns="0" rIns="0" bIns="0" numCol="1" spcCol="228600" rtlCol="0">
            <a:spAutoFit/>
          </a:bodyPr>
          <a:lstStyle/>
          <a:p>
            <a:pPr lvl="0" algn="ctr">
              <a:lnSpc>
                <a:spcPct val="100000"/>
              </a:lnSpc>
            </a:pPr>
            <a:r>
              <a:rPr lang="en-US" sz="1400" dirty="0">
                <a:solidFill>
                  <a:schemeClr val="bg1"/>
                </a:solidFill>
              </a:rPr>
              <a:t>Resume shared equity loan purchases &amp; invest in standardization</a:t>
            </a:r>
          </a:p>
        </p:txBody>
      </p:sp>
      <p:sp>
        <p:nvSpPr>
          <p:cNvPr id="89" name="Rectangle 88">
            <a:extLst>
              <a:ext uri="{FF2B5EF4-FFF2-40B4-BE49-F238E27FC236}">
                <a16:creationId xmlns:a16="http://schemas.microsoft.com/office/drawing/2014/main" id="{9C4BA74F-43A3-4C51-AD8C-445E11AD92C2}"/>
              </a:ext>
            </a:extLst>
          </p:cNvPr>
          <p:cNvSpPr/>
          <p:nvPr/>
        </p:nvSpPr>
        <p:spPr>
          <a:xfrm>
            <a:off x="1566882" y="1270314"/>
            <a:ext cx="6545507" cy="452753"/>
          </a:xfrm>
          <a:prstGeom prst="rect">
            <a:avLst/>
          </a:prstGeom>
          <a:solidFill>
            <a:srgbClr val="C55422"/>
          </a:solidFill>
          <a:ln>
            <a:solidFill>
              <a:srgbClr val="C554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at Else is in the Plan?</a:t>
            </a:r>
          </a:p>
        </p:txBody>
      </p:sp>
      <p:sp>
        <p:nvSpPr>
          <p:cNvPr id="43" name="Rectangle 42">
            <a:extLst>
              <a:ext uri="{FF2B5EF4-FFF2-40B4-BE49-F238E27FC236}">
                <a16:creationId xmlns:a16="http://schemas.microsoft.com/office/drawing/2014/main" id="{5BFD0EC7-E8D1-47F9-BA30-EA32120FBED4}"/>
              </a:ext>
            </a:extLst>
          </p:cNvPr>
          <p:cNvSpPr/>
          <p:nvPr/>
        </p:nvSpPr>
        <p:spPr>
          <a:xfrm>
            <a:off x="-2855" y="0"/>
            <a:ext cx="137922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32EA1AD6-85EB-4B88-89C8-6A851DB9CC15}"/>
              </a:ext>
            </a:extLst>
          </p:cNvPr>
          <p:cNvSpPr txBox="1"/>
          <p:nvPr/>
        </p:nvSpPr>
        <p:spPr>
          <a:xfrm>
            <a:off x="297305" y="293769"/>
            <a:ext cx="790281" cy="387798"/>
          </a:xfrm>
          <a:prstGeom prst="rect">
            <a:avLst/>
          </a:prstGeom>
          <a:noFill/>
        </p:spPr>
        <p:txBody>
          <a:bodyPr wrap="none" lIns="0" tIns="0" rIns="0" bIns="0" rtlCol="0">
            <a:spAutoFit/>
          </a:bodyPr>
          <a:lstStyle/>
          <a:p>
            <a:pPr algn="ctr">
              <a:lnSpc>
                <a:spcPct val="90000"/>
              </a:lnSpc>
              <a:spcAft>
                <a:spcPts val="1200"/>
              </a:spcAft>
            </a:pPr>
            <a:r>
              <a:rPr lang="en-US" sz="1400" dirty="0">
                <a:solidFill>
                  <a:schemeClr val="bg1"/>
                </a:solidFill>
              </a:rPr>
              <a:t>By the </a:t>
            </a:r>
            <a:br>
              <a:rPr lang="en-US" sz="1400" dirty="0">
                <a:solidFill>
                  <a:schemeClr val="bg1"/>
                </a:solidFill>
              </a:rPr>
            </a:br>
            <a:r>
              <a:rPr lang="en-US" sz="1400" b="1" dirty="0">
                <a:solidFill>
                  <a:schemeClr val="accent3"/>
                </a:solidFill>
              </a:rPr>
              <a:t>NUMBERS</a:t>
            </a:r>
          </a:p>
        </p:txBody>
      </p:sp>
      <p:sp>
        <p:nvSpPr>
          <p:cNvPr id="63" name="Content Placeholder 6">
            <a:extLst>
              <a:ext uri="{FF2B5EF4-FFF2-40B4-BE49-F238E27FC236}">
                <a16:creationId xmlns:a16="http://schemas.microsoft.com/office/drawing/2014/main" id="{CA8DC6D4-DED5-4656-9671-51DF25E5DB39}"/>
              </a:ext>
            </a:extLst>
          </p:cNvPr>
          <p:cNvSpPr txBox="1">
            <a:spLocks/>
          </p:cNvSpPr>
          <p:nvPr/>
        </p:nvSpPr>
        <p:spPr>
          <a:xfrm>
            <a:off x="134026" y="767331"/>
            <a:ext cx="1116841" cy="861774"/>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Loan purchase growth over first plan cycle (2018-20)</a:t>
            </a:r>
            <a:r>
              <a:rPr lang="en-US" sz="1400" dirty="0"/>
              <a:t>) </a:t>
            </a:r>
          </a:p>
        </p:txBody>
      </p:sp>
      <p:cxnSp>
        <p:nvCxnSpPr>
          <p:cNvPr id="45" name="Straight Connector 44">
            <a:extLst>
              <a:ext uri="{FF2B5EF4-FFF2-40B4-BE49-F238E27FC236}">
                <a16:creationId xmlns:a16="http://schemas.microsoft.com/office/drawing/2014/main" id="{333AE087-DA9A-49E7-879F-B5691DF18876}"/>
              </a:ext>
            </a:extLst>
          </p:cNvPr>
          <p:cNvCxnSpPr>
            <a:cxnSpLocks/>
          </p:cNvCxnSpPr>
          <p:nvPr/>
        </p:nvCxnSpPr>
        <p:spPr>
          <a:xfrm>
            <a:off x="144330" y="1699492"/>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6"/>
          </p:nvPr>
        </p:nvSpPr>
        <p:spPr>
          <a:xfrm>
            <a:off x="55962" y="2352470"/>
            <a:ext cx="1226986" cy="495257"/>
          </a:xfrm>
        </p:spPr>
        <p:txBody>
          <a:bodyPr/>
          <a:lstStyle/>
          <a:p>
            <a:pPr algn="ctr"/>
            <a:r>
              <a:rPr lang="en-US" sz="1400" dirty="0">
                <a:solidFill>
                  <a:schemeClr val="bg1"/>
                </a:solidFill>
              </a:rPr>
              <a:t>MH Real Property</a:t>
            </a:r>
          </a:p>
        </p:txBody>
      </p:sp>
      <p:sp>
        <p:nvSpPr>
          <p:cNvPr id="10" name="Content Placeholder 6"/>
          <p:cNvSpPr txBox="1">
            <a:spLocks/>
          </p:cNvSpPr>
          <p:nvPr/>
        </p:nvSpPr>
        <p:spPr>
          <a:xfrm>
            <a:off x="467842" y="2081214"/>
            <a:ext cx="508071"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16%</a:t>
            </a:r>
          </a:p>
        </p:txBody>
      </p:sp>
      <p:cxnSp>
        <p:nvCxnSpPr>
          <p:cNvPr id="46" name="Straight Connector 45">
            <a:extLst>
              <a:ext uri="{FF2B5EF4-FFF2-40B4-BE49-F238E27FC236}">
                <a16:creationId xmlns:a16="http://schemas.microsoft.com/office/drawing/2014/main" id="{41779CEB-6476-49FD-98D7-85E0EF6B8A1A}"/>
              </a:ext>
            </a:extLst>
          </p:cNvPr>
          <p:cNvCxnSpPr>
            <a:cxnSpLocks/>
          </p:cNvCxnSpPr>
          <p:nvPr/>
        </p:nvCxnSpPr>
        <p:spPr>
          <a:xfrm>
            <a:off x="144330" y="2949565"/>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Content Placeholder 6">
            <a:extLst>
              <a:ext uri="{FF2B5EF4-FFF2-40B4-BE49-F238E27FC236}">
                <a16:creationId xmlns:a16="http://schemas.microsoft.com/office/drawing/2014/main" id="{25D12FE4-ED86-45C8-8D48-E853767FE210}"/>
              </a:ext>
            </a:extLst>
          </p:cNvPr>
          <p:cNvSpPr txBox="1">
            <a:spLocks/>
          </p:cNvSpPr>
          <p:nvPr/>
        </p:nvSpPr>
        <p:spPr>
          <a:xfrm>
            <a:off x="-121662" y="3907652"/>
            <a:ext cx="1553700" cy="430887"/>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Small Financial Institutions</a:t>
            </a:r>
          </a:p>
        </p:txBody>
      </p:sp>
      <p:sp>
        <p:nvSpPr>
          <p:cNvPr id="32" name="Content Placeholder 6">
            <a:extLst>
              <a:ext uri="{FF2B5EF4-FFF2-40B4-BE49-F238E27FC236}">
                <a16:creationId xmlns:a16="http://schemas.microsoft.com/office/drawing/2014/main" id="{D5364AED-357D-4781-B626-3BE469413F5C}"/>
              </a:ext>
            </a:extLst>
          </p:cNvPr>
          <p:cNvSpPr txBox="1">
            <a:spLocks/>
          </p:cNvSpPr>
          <p:nvPr/>
        </p:nvSpPr>
        <p:spPr>
          <a:xfrm>
            <a:off x="455366" y="3658353"/>
            <a:ext cx="562127"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16%</a:t>
            </a:r>
          </a:p>
        </p:txBody>
      </p:sp>
      <p:cxnSp>
        <p:nvCxnSpPr>
          <p:cNvPr id="48" name="Straight Connector 47">
            <a:extLst>
              <a:ext uri="{FF2B5EF4-FFF2-40B4-BE49-F238E27FC236}">
                <a16:creationId xmlns:a16="http://schemas.microsoft.com/office/drawing/2014/main" id="{68F7A8E7-6372-441A-B0DB-AADC69F86EC5}"/>
              </a:ext>
            </a:extLst>
          </p:cNvPr>
          <p:cNvCxnSpPr>
            <a:cxnSpLocks/>
          </p:cNvCxnSpPr>
          <p:nvPr/>
        </p:nvCxnSpPr>
        <p:spPr>
          <a:xfrm>
            <a:off x="134026" y="4504519"/>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Content Placeholder 6">
            <a:extLst>
              <a:ext uri="{FF2B5EF4-FFF2-40B4-BE49-F238E27FC236}">
                <a16:creationId xmlns:a16="http://schemas.microsoft.com/office/drawing/2014/main" id="{2002E6B8-4A74-452C-8B12-33B60357638C}"/>
              </a:ext>
            </a:extLst>
          </p:cNvPr>
          <p:cNvSpPr txBox="1">
            <a:spLocks/>
          </p:cNvSpPr>
          <p:nvPr/>
        </p:nvSpPr>
        <p:spPr>
          <a:xfrm>
            <a:off x="-52565" y="5697407"/>
            <a:ext cx="1476725" cy="430887"/>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High Needs Rural Regions</a:t>
            </a:r>
          </a:p>
        </p:txBody>
      </p:sp>
      <p:sp>
        <p:nvSpPr>
          <p:cNvPr id="26" name="Content Placeholder 6">
            <a:extLst>
              <a:ext uri="{FF2B5EF4-FFF2-40B4-BE49-F238E27FC236}">
                <a16:creationId xmlns:a16="http://schemas.microsoft.com/office/drawing/2014/main" id="{B307CC0B-A1AB-4FD5-8D11-D3C80E356BDD}"/>
              </a:ext>
            </a:extLst>
          </p:cNvPr>
          <p:cNvSpPr txBox="1">
            <a:spLocks/>
          </p:cNvSpPr>
          <p:nvPr/>
        </p:nvSpPr>
        <p:spPr>
          <a:xfrm>
            <a:off x="467842" y="5438051"/>
            <a:ext cx="450059"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39%</a:t>
            </a:r>
          </a:p>
        </p:txBody>
      </p:sp>
    </p:spTree>
    <p:extLst>
      <p:ext uri="{BB962C8B-B14F-4D97-AF65-F5344CB8AC3E}">
        <p14:creationId xmlns:p14="http://schemas.microsoft.com/office/powerpoint/2010/main" val="17448700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4C65811-3935-434E-8630-9654D3F4CCD2}"/>
              </a:ext>
            </a:extLst>
          </p:cNvPr>
          <p:cNvGraphicFramePr>
            <a:graphicFrameLocks noChangeAspect="1"/>
          </p:cNvGraphicFramePr>
          <p:nvPr>
            <p:custDataLst>
              <p:tags r:id="rId2"/>
            </p:custDataLst>
            <p:extLst>
              <p:ext uri="{D42A27DB-BD31-4B8C-83A1-F6EECF244321}">
                <p14:modId xmlns:p14="http://schemas.microsoft.com/office/powerpoint/2010/main" val="1691330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4" imgW="395" imgH="396" progId="TCLayout.ActiveDocument.1">
                  <p:embed/>
                </p:oleObj>
              </mc:Choice>
              <mc:Fallback>
                <p:oleObj name="think-cell Slide" r:id="rId4" imgW="395" imgH="396" progId="TCLayout.ActiveDocument.1">
                  <p:embed/>
                  <p:pic>
                    <p:nvPicPr>
                      <p:cNvPr id="13" name="Object 12" hidden="1">
                        <a:extLst>
                          <a:ext uri="{FF2B5EF4-FFF2-40B4-BE49-F238E27FC236}">
                            <a16:creationId xmlns:a16="http://schemas.microsoft.com/office/drawing/2014/main" id="{B4C65811-3935-434E-8630-9654D3F4CC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a:extLst>
              <a:ext uri="{FF2B5EF4-FFF2-40B4-BE49-F238E27FC236}">
                <a16:creationId xmlns:a16="http://schemas.microsoft.com/office/drawing/2014/main" id="{301CFDF2-3060-4D40-996C-9E0B04A3974F}"/>
              </a:ext>
            </a:extLst>
          </p:cNvPr>
          <p:cNvSpPr/>
          <p:nvPr/>
        </p:nvSpPr>
        <p:spPr>
          <a:xfrm>
            <a:off x="5154860" y="4160947"/>
            <a:ext cx="3203990" cy="1593369"/>
          </a:xfrm>
          <a:prstGeom prst="rect">
            <a:avLst/>
          </a:prstGeom>
          <a:solidFill>
            <a:srgbClr val="C55422"/>
          </a:solidFill>
          <a:ln>
            <a:solidFill>
              <a:srgbClr val="C554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Rectangle 48">
            <a:extLst>
              <a:ext uri="{FF2B5EF4-FFF2-40B4-BE49-F238E27FC236}">
                <a16:creationId xmlns:a16="http://schemas.microsoft.com/office/drawing/2014/main" id="{0AF5B87C-067A-41AD-B965-9AED8B2D049E}"/>
              </a:ext>
            </a:extLst>
          </p:cNvPr>
          <p:cNvSpPr/>
          <p:nvPr/>
        </p:nvSpPr>
        <p:spPr>
          <a:xfrm>
            <a:off x="1478190" y="4160948"/>
            <a:ext cx="3516864" cy="1593369"/>
          </a:xfrm>
          <a:prstGeom prst="rect">
            <a:avLst/>
          </a:prstGeom>
          <a:solidFill>
            <a:srgbClr val="C55422"/>
          </a:solidFill>
          <a:ln>
            <a:solidFill>
              <a:srgbClr val="C554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513250" y="397414"/>
            <a:ext cx="6791968" cy="452753"/>
          </a:xfrm>
        </p:spPr>
        <p:txBody>
          <a:bodyPr vert="horz"/>
          <a:lstStyle/>
          <a:p>
            <a:r>
              <a:rPr lang="en-US" dirty="0"/>
              <a:t>2022-24 Multifamily Overview</a:t>
            </a:r>
          </a:p>
        </p:txBody>
      </p:sp>
      <p:sp>
        <p:nvSpPr>
          <p:cNvPr id="4" name="Slide Number Placeholder 3"/>
          <p:cNvSpPr>
            <a:spLocks noGrp="1"/>
          </p:cNvSpPr>
          <p:nvPr>
            <p:ph type="sldNum" sz="quarter" idx="11"/>
          </p:nvPr>
        </p:nvSpPr>
        <p:spPr/>
        <p:txBody>
          <a:bodyPr/>
          <a:lstStyle/>
          <a:p>
            <a:fld id="{5F113B49-C4D2-453F-848F-33FCBA6F44B6}" type="slidenum">
              <a:rPr lang="en-US" smtClean="0"/>
              <a:pPr/>
              <a:t>6</a:t>
            </a:fld>
            <a:endParaRPr lang="en-US" dirty="0"/>
          </a:p>
        </p:txBody>
      </p:sp>
      <p:sp>
        <p:nvSpPr>
          <p:cNvPr id="6" name="Text Placeholder 5"/>
          <p:cNvSpPr>
            <a:spLocks noGrp="1"/>
          </p:cNvSpPr>
          <p:nvPr>
            <p:ph type="body" sz="quarter" idx="14"/>
          </p:nvPr>
        </p:nvSpPr>
        <p:spPr>
          <a:xfrm>
            <a:off x="1534279" y="855021"/>
            <a:ext cx="4847061" cy="246445"/>
          </a:xfrm>
        </p:spPr>
        <p:txBody>
          <a:bodyPr/>
          <a:lstStyle/>
          <a:p>
            <a:r>
              <a:rPr lang="en-US" dirty="0"/>
              <a:t>Preview of next plan cycle</a:t>
            </a:r>
          </a:p>
        </p:txBody>
      </p:sp>
      <p:sp>
        <p:nvSpPr>
          <p:cNvPr id="89" name="Rectangle 88">
            <a:extLst>
              <a:ext uri="{FF2B5EF4-FFF2-40B4-BE49-F238E27FC236}">
                <a16:creationId xmlns:a16="http://schemas.microsoft.com/office/drawing/2014/main" id="{9C4BA74F-43A3-4C51-AD8C-445E11AD92C2}"/>
              </a:ext>
            </a:extLst>
          </p:cNvPr>
          <p:cNvSpPr/>
          <p:nvPr/>
        </p:nvSpPr>
        <p:spPr>
          <a:xfrm>
            <a:off x="1566882" y="1270314"/>
            <a:ext cx="6791968" cy="452753"/>
          </a:xfrm>
          <a:prstGeom prst="rect">
            <a:avLst/>
          </a:prstGeom>
          <a:solidFill>
            <a:srgbClr val="C55422"/>
          </a:solidFill>
          <a:ln>
            <a:solidFill>
              <a:srgbClr val="C5542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hat Else is in the Plan?</a:t>
            </a:r>
          </a:p>
        </p:txBody>
      </p:sp>
      <p:sp>
        <p:nvSpPr>
          <p:cNvPr id="43" name="Rectangle 42">
            <a:extLst>
              <a:ext uri="{FF2B5EF4-FFF2-40B4-BE49-F238E27FC236}">
                <a16:creationId xmlns:a16="http://schemas.microsoft.com/office/drawing/2014/main" id="{5BFD0EC7-E8D1-47F9-BA30-EA32120FBED4}"/>
              </a:ext>
            </a:extLst>
          </p:cNvPr>
          <p:cNvSpPr/>
          <p:nvPr/>
        </p:nvSpPr>
        <p:spPr>
          <a:xfrm>
            <a:off x="17649" y="0"/>
            <a:ext cx="137922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32EA1AD6-85EB-4B88-89C8-6A851DB9CC15}"/>
              </a:ext>
            </a:extLst>
          </p:cNvPr>
          <p:cNvSpPr txBox="1"/>
          <p:nvPr/>
        </p:nvSpPr>
        <p:spPr>
          <a:xfrm>
            <a:off x="297305" y="293769"/>
            <a:ext cx="790281" cy="387798"/>
          </a:xfrm>
          <a:prstGeom prst="rect">
            <a:avLst/>
          </a:prstGeom>
          <a:noFill/>
        </p:spPr>
        <p:txBody>
          <a:bodyPr wrap="none" lIns="0" tIns="0" rIns="0" bIns="0" rtlCol="0">
            <a:spAutoFit/>
          </a:bodyPr>
          <a:lstStyle/>
          <a:p>
            <a:pPr algn="ctr">
              <a:lnSpc>
                <a:spcPct val="90000"/>
              </a:lnSpc>
              <a:spcAft>
                <a:spcPts val="1200"/>
              </a:spcAft>
            </a:pPr>
            <a:r>
              <a:rPr lang="en-US" sz="1400" dirty="0">
                <a:solidFill>
                  <a:schemeClr val="bg1"/>
                </a:solidFill>
              </a:rPr>
              <a:t>By the </a:t>
            </a:r>
            <a:br>
              <a:rPr lang="en-US" sz="1400" dirty="0">
                <a:solidFill>
                  <a:schemeClr val="bg1"/>
                </a:solidFill>
              </a:rPr>
            </a:br>
            <a:r>
              <a:rPr lang="en-US" sz="1400" b="1" dirty="0">
                <a:solidFill>
                  <a:schemeClr val="accent3"/>
                </a:solidFill>
              </a:rPr>
              <a:t>NUMBERS</a:t>
            </a:r>
          </a:p>
        </p:txBody>
      </p:sp>
      <p:sp>
        <p:nvSpPr>
          <p:cNvPr id="63" name="Content Placeholder 6">
            <a:extLst>
              <a:ext uri="{FF2B5EF4-FFF2-40B4-BE49-F238E27FC236}">
                <a16:creationId xmlns:a16="http://schemas.microsoft.com/office/drawing/2014/main" id="{CA8DC6D4-DED5-4656-9671-51DF25E5DB39}"/>
              </a:ext>
            </a:extLst>
          </p:cNvPr>
          <p:cNvSpPr txBox="1">
            <a:spLocks/>
          </p:cNvSpPr>
          <p:nvPr/>
        </p:nvSpPr>
        <p:spPr>
          <a:xfrm>
            <a:off x="134026" y="767331"/>
            <a:ext cx="1116841" cy="861774"/>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Loan purchase growth over first plan cycle (2018-20)</a:t>
            </a:r>
            <a:r>
              <a:rPr lang="en-US" sz="1400" dirty="0"/>
              <a:t>) </a:t>
            </a:r>
          </a:p>
        </p:txBody>
      </p:sp>
      <p:cxnSp>
        <p:nvCxnSpPr>
          <p:cNvPr id="45" name="Straight Connector 44">
            <a:extLst>
              <a:ext uri="{FF2B5EF4-FFF2-40B4-BE49-F238E27FC236}">
                <a16:creationId xmlns:a16="http://schemas.microsoft.com/office/drawing/2014/main" id="{333AE087-DA9A-49E7-879F-B5691DF18876}"/>
              </a:ext>
            </a:extLst>
          </p:cNvPr>
          <p:cNvCxnSpPr>
            <a:cxnSpLocks/>
          </p:cNvCxnSpPr>
          <p:nvPr/>
        </p:nvCxnSpPr>
        <p:spPr>
          <a:xfrm>
            <a:off x="144330" y="1699492"/>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6"/>
          </p:nvPr>
        </p:nvSpPr>
        <p:spPr>
          <a:xfrm>
            <a:off x="55962" y="2352470"/>
            <a:ext cx="1226986" cy="215444"/>
          </a:xfrm>
        </p:spPr>
        <p:txBody>
          <a:bodyPr/>
          <a:lstStyle/>
          <a:p>
            <a:pPr algn="ctr"/>
            <a:r>
              <a:rPr lang="en-US" sz="1400" dirty="0">
                <a:solidFill>
                  <a:schemeClr val="bg1"/>
                </a:solidFill>
              </a:rPr>
              <a:t>State or Local</a:t>
            </a:r>
          </a:p>
        </p:txBody>
      </p:sp>
      <p:sp>
        <p:nvSpPr>
          <p:cNvPr id="10" name="Content Placeholder 6"/>
          <p:cNvSpPr txBox="1">
            <a:spLocks/>
          </p:cNvSpPr>
          <p:nvPr/>
        </p:nvSpPr>
        <p:spPr>
          <a:xfrm>
            <a:off x="467842" y="2081214"/>
            <a:ext cx="508071"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11%</a:t>
            </a:r>
          </a:p>
        </p:txBody>
      </p:sp>
      <p:cxnSp>
        <p:nvCxnSpPr>
          <p:cNvPr id="46" name="Straight Connector 45">
            <a:extLst>
              <a:ext uri="{FF2B5EF4-FFF2-40B4-BE49-F238E27FC236}">
                <a16:creationId xmlns:a16="http://schemas.microsoft.com/office/drawing/2014/main" id="{41779CEB-6476-49FD-98D7-85E0EF6B8A1A}"/>
              </a:ext>
            </a:extLst>
          </p:cNvPr>
          <p:cNvCxnSpPr>
            <a:cxnSpLocks/>
          </p:cNvCxnSpPr>
          <p:nvPr/>
        </p:nvCxnSpPr>
        <p:spPr>
          <a:xfrm>
            <a:off x="144330" y="2689016"/>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Content Placeholder 6">
            <a:extLst>
              <a:ext uri="{FF2B5EF4-FFF2-40B4-BE49-F238E27FC236}">
                <a16:creationId xmlns:a16="http://schemas.microsoft.com/office/drawing/2014/main" id="{25D12FE4-ED86-45C8-8D48-E853767FE210}"/>
              </a:ext>
            </a:extLst>
          </p:cNvPr>
          <p:cNvSpPr txBox="1">
            <a:spLocks/>
          </p:cNvSpPr>
          <p:nvPr/>
        </p:nvSpPr>
        <p:spPr>
          <a:xfrm>
            <a:off x="-36132" y="4979871"/>
            <a:ext cx="1476725" cy="215444"/>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MHC Properties</a:t>
            </a:r>
          </a:p>
        </p:txBody>
      </p:sp>
      <p:sp>
        <p:nvSpPr>
          <p:cNvPr id="32" name="Content Placeholder 6">
            <a:extLst>
              <a:ext uri="{FF2B5EF4-FFF2-40B4-BE49-F238E27FC236}">
                <a16:creationId xmlns:a16="http://schemas.microsoft.com/office/drawing/2014/main" id="{D5364AED-357D-4781-B626-3BE469413F5C}"/>
              </a:ext>
            </a:extLst>
          </p:cNvPr>
          <p:cNvSpPr txBox="1">
            <a:spLocks/>
          </p:cNvSpPr>
          <p:nvPr/>
        </p:nvSpPr>
        <p:spPr>
          <a:xfrm>
            <a:off x="525459" y="4725599"/>
            <a:ext cx="562127"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50%</a:t>
            </a:r>
          </a:p>
        </p:txBody>
      </p:sp>
      <p:cxnSp>
        <p:nvCxnSpPr>
          <p:cNvPr id="48" name="Straight Connector 47">
            <a:extLst>
              <a:ext uri="{FF2B5EF4-FFF2-40B4-BE49-F238E27FC236}">
                <a16:creationId xmlns:a16="http://schemas.microsoft.com/office/drawing/2014/main" id="{68F7A8E7-6372-441A-B0DB-AADC69F86EC5}"/>
              </a:ext>
            </a:extLst>
          </p:cNvPr>
          <p:cNvCxnSpPr>
            <a:cxnSpLocks/>
          </p:cNvCxnSpPr>
          <p:nvPr/>
        </p:nvCxnSpPr>
        <p:spPr>
          <a:xfrm>
            <a:off x="176479" y="5392356"/>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Content Placeholder 6">
            <a:extLst>
              <a:ext uri="{FF2B5EF4-FFF2-40B4-BE49-F238E27FC236}">
                <a16:creationId xmlns:a16="http://schemas.microsoft.com/office/drawing/2014/main" id="{B307CC0B-A1AB-4FD5-8D11-D3C80E356BDD}"/>
              </a:ext>
            </a:extLst>
          </p:cNvPr>
          <p:cNvSpPr txBox="1">
            <a:spLocks/>
          </p:cNvSpPr>
          <p:nvPr/>
        </p:nvSpPr>
        <p:spPr>
          <a:xfrm>
            <a:off x="522890" y="5718571"/>
            <a:ext cx="450059"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21%</a:t>
            </a:r>
          </a:p>
        </p:txBody>
      </p:sp>
      <p:pic>
        <p:nvPicPr>
          <p:cNvPr id="47" name="Picture 46" descr="Icon&#10;&#10;Description automatically generated">
            <a:extLst>
              <a:ext uri="{FF2B5EF4-FFF2-40B4-BE49-F238E27FC236}">
                <a16:creationId xmlns:a16="http://schemas.microsoft.com/office/drawing/2014/main" id="{1A2E6D61-8B9F-4742-BDBA-1E1D40201E6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37996" y="2161927"/>
            <a:ext cx="1185879" cy="1188720"/>
          </a:xfrm>
          <a:prstGeom prst="rect">
            <a:avLst/>
          </a:prstGeom>
        </p:spPr>
      </p:pic>
      <p:pic>
        <p:nvPicPr>
          <p:cNvPr id="51" name="Picture 50" descr="Icon&#10;&#10;Description automatically generated">
            <a:extLst>
              <a:ext uri="{FF2B5EF4-FFF2-40B4-BE49-F238E27FC236}">
                <a16:creationId xmlns:a16="http://schemas.microsoft.com/office/drawing/2014/main" id="{8E601E09-F28C-4E0E-AB1F-AB4C73B7078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19178" y="2161927"/>
            <a:ext cx="1188720" cy="1188720"/>
          </a:xfrm>
          <a:prstGeom prst="rect">
            <a:avLst/>
          </a:prstGeom>
        </p:spPr>
      </p:pic>
      <p:pic>
        <p:nvPicPr>
          <p:cNvPr id="52" name="Picture 51" descr="Icon&#10;&#10;Description automatically generated">
            <a:extLst>
              <a:ext uri="{FF2B5EF4-FFF2-40B4-BE49-F238E27FC236}">
                <a16:creationId xmlns:a16="http://schemas.microsoft.com/office/drawing/2014/main" id="{74FD2651-7F8C-4684-BBEA-3729DA17C81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05267" y="4380538"/>
            <a:ext cx="1188720" cy="1188720"/>
          </a:xfrm>
          <a:prstGeom prst="rect">
            <a:avLst/>
          </a:prstGeom>
        </p:spPr>
      </p:pic>
      <p:sp>
        <p:nvSpPr>
          <p:cNvPr id="53" name="TextBox 52">
            <a:extLst>
              <a:ext uri="{FF2B5EF4-FFF2-40B4-BE49-F238E27FC236}">
                <a16:creationId xmlns:a16="http://schemas.microsoft.com/office/drawing/2014/main" id="{9D92C763-49F1-4BBE-BC90-9553426F740F}"/>
              </a:ext>
            </a:extLst>
          </p:cNvPr>
          <p:cNvSpPr txBox="1"/>
          <p:nvPr/>
        </p:nvSpPr>
        <p:spPr>
          <a:xfrm>
            <a:off x="2921064" y="2560750"/>
            <a:ext cx="1858809" cy="387798"/>
          </a:xfrm>
          <a:prstGeom prst="rect">
            <a:avLst/>
          </a:prstGeom>
          <a:noFill/>
        </p:spPr>
        <p:txBody>
          <a:bodyPr wrap="square" lIns="0" tIns="0" rIns="0" bIns="0" numCol="1" spcCol="228600" rtlCol="0">
            <a:spAutoFit/>
          </a:bodyPr>
          <a:lstStyle/>
          <a:p>
            <a:pPr algn="ctr">
              <a:lnSpc>
                <a:spcPct val="90000"/>
              </a:lnSpc>
              <a:spcAft>
                <a:spcPts val="1200"/>
              </a:spcAft>
            </a:pPr>
            <a:r>
              <a:rPr lang="en-US" sz="1400" dirty="0"/>
              <a:t>Purchase 6 MHCs owned by residents (ROC)</a:t>
            </a:r>
          </a:p>
        </p:txBody>
      </p:sp>
      <p:sp>
        <p:nvSpPr>
          <p:cNvPr id="54" name="TextBox 53">
            <a:extLst>
              <a:ext uri="{FF2B5EF4-FFF2-40B4-BE49-F238E27FC236}">
                <a16:creationId xmlns:a16="http://schemas.microsoft.com/office/drawing/2014/main" id="{41E03889-F3C4-4B7B-995A-7CAD01149BD2}"/>
              </a:ext>
            </a:extLst>
          </p:cNvPr>
          <p:cNvSpPr txBox="1"/>
          <p:nvPr/>
        </p:nvSpPr>
        <p:spPr>
          <a:xfrm>
            <a:off x="2872421" y="4634465"/>
            <a:ext cx="2044198" cy="646331"/>
          </a:xfrm>
          <a:prstGeom prst="rect">
            <a:avLst/>
          </a:prstGeom>
          <a:noFill/>
        </p:spPr>
        <p:txBody>
          <a:bodyPr wrap="square" lIns="0" tIns="0" rIns="0" bIns="0" numCol="1" spcCol="228600" rtlCol="0">
            <a:spAutoFit/>
          </a:bodyPr>
          <a:lstStyle/>
          <a:p>
            <a:pPr lvl="0" algn="ctr">
              <a:lnSpc>
                <a:spcPct val="100000"/>
              </a:lnSpc>
            </a:pPr>
            <a:r>
              <a:rPr lang="en-US" sz="1400" dirty="0">
                <a:solidFill>
                  <a:schemeClr val="bg1"/>
                </a:solidFill>
              </a:rPr>
              <a:t>Resource focus on areas that scale (e.g., Section 8, LIHTC, state/local and RAD)</a:t>
            </a:r>
          </a:p>
        </p:txBody>
      </p:sp>
      <p:sp>
        <p:nvSpPr>
          <p:cNvPr id="55" name="TextBox 54">
            <a:extLst>
              <a:ext uri="{FF2B5EF4-FFF2-40B4-BE49-F238E27FC236}">
                <a16:creationId xmlns:a16="http://schemas.microsoft.com/office/drawing/2014/main" id="{A208FB4E-DA7B-44BA-B1B5-EE3EC4379B50}"/>
              </a:ext>
            </a:extLst>
          </p:cNvPr>
          <p:cNvSpPr txBox="1"/>
          <p:nvPr/>
        </p:nvSpPr>
        <p:spPr>
          <a:xfrm>
            <a:off x="6446410" y="4594917"/>
            <a:ext cx="1858808" cy="646331"/>
          </a:xfrm>
          <a:prstGeom prst="rect">
            <a:avLst/>
          </a:prstGeom>
          <a:noFill/>
        </p:spPr>
        <p:txBody>
          <a:bodyPr wrap="square" lIns="0" tIns="0" rIns="0" bIns="0" numCol="1" spcCol="228600" rtlCol="0">
            <a:spAutoFit/>
          </a:bodyPr>
          <a:lstStyle/>
          <a:p>
            <a:pPr algn="ctr"/>
            <a:r>
              <a:rPr lang="en-US" sz="1400" dirty="0">
                <a:solidFill>
                  <a:schemeClr val="bg1"/>
                </a:solidFill>
              </a:rPr>
              <a:t>Economic Diversity: Affordable Housing in High Opportunity Areas </a:t>
            </a:r>
          </a:p>
        </p:txBody>
      </p:sp>
      <p:sp>
        <p:nvSpPr>
          <p:cNvPr id="56" name="TextBox 55">
            <a:extLst>
              <a:ext uri="{FF2B5EF4-FFF2-40B4-BE49-F238E27FC236}">
                <a16:creationId xmlns:a16="http://schemas.microsoft.com/office/drawing/2014/main" id="{FC6EF1CD-C4FC-4208-B12A-5C49E0E83BD2}"/>
              </a:ext>
            </a:extLst>
          </p:cNvPr>
          <p:cNvSpPr txBox="1"/>
          <p:nvPr/>
        </p:nvSpPr>
        <p:spPr>
          <a:xfrm>
            <a:off x="6446409" y="2539205"/>
            <a:ext cx="1858809" cy="430887"/>
          </a:xfrm>
          <a:prstGeom prst="rect">
            <a:avLst/>
          </a:prstGeom>
          <a:noFill/>
        </p:spPr>
        <p:txBody>
          <a:bodyPr wrap="square" lIns="0" tIns="0" rIns="0" bIns="0" numCol="1" spcCol="228600" rtlCol="0">
            <a:spAutoFit/>
          </a:bodyPr>
          <a:lstStyle/>
          <a:p>
            <a:pPr lvl="0" algn="ctr"/>
            <a:r>
              <a:rPr lang="en-US" sz="1400" dirty="0"/>
              <a:t>Invest in LIHTC properties in rural areas</a:t>
            </a:r>
          </a:p>
        </p:txBody>
      </p:sp>
      <p:sp>
        <p:nvSpPr>
          <p:cNvPr id="57" name="Content Placeholder 6">
            <a:extLst>
              <a:ext uri="{FF2B5EF4-FFF2-40B4-BE49-F238E27FC236}">
                <a16:creationId xmlns:a16="http://schemas.microsoft.com/office/drawing/2014/main" id="{F2238CE8-AE19-479D-845B-18DB06F08A86}"/>
              </a:ext>
            </a:extLst>
          </p:cNvPr>
          <p:cNvSpPr txBox="1">
            <a:spLocks/>
          </p:cNvSpPr>
          <p:nvPr/>
        </p:nvSpPr>
        <p:spPr>
          <a:xfrm>
            <a:off x="482393" y="2909387"/>
            <a:ext cx="508071"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27%</a:t>
            </a:r>
          </a:p>
        </p:txBody>
      </p:sp>
      <p:sp>
        <p:nvSpPr>
          <p:cNvPr id="58" name="Content Placeholder 6">
            <a:extLst>
              <a:ext uri="{FF2B5EF4-FFF2-40B4-BE49-F238E27FC236}">
                <a16:creationId xmlns:a16="http://schemas.microsoft.com/office/drawing/2014/main" id="{37422481-82AF-40C3-90B6-60A400855B66}"/>
              </a:ext>
            </a:extLst>
          </p:cNvPr>
          <p:cNvSpPr txBox="1">
            <a:spLocks/>
          </p:cNvSpPr>
          <p:nvPr/>
        </p:nvSpPr>
        <p:spPr>
          <a:xfrm>
            <a:off x="73714" y="3150657"/>
            <a:ext cx="1226986" cy="215444"/>
          </a:xfrm>
          <a:prstGeom prst="rect">
            <a:avLst/>
          </a:prstGeom>
        </p:spPr>
        <p:txBody>
          <a:bodyPr vert="horz"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RAD</a:t>
            </a:r>
          </a:p>
        </p:txBody>
      </p:sp>
      <p:cxnSp>
        <p:nvCxnSpPr>
          <p:cNvPr id="59" name="Straight Connector 58">
            <a:extLst>
              <a:ext uri="{FF2B5EF4-FFF2-40B4-BE49-F238E27FC236}">
                <a16:creationId xmlns:a16="http://schemas.microsoft.com/office/drawing/2014/main" id="{A78108B4-1A1A-4689-89D7-F5772E8C2369}"/>
              </a:ext>
            </a:extLst>
          </p:cNvPr>
          <p:cNvCxnSpPr>
            <a:cxnSpLocks/>
          </p:cNvCxnSpPr>
          <p:nvPr/>
        </p:nvCxnSpPr>
        <p:spPr>
          <a:xfrm>
            <a:off x="174942" y="3500919"/>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0" name="Content Placeholder 6">
            <a:extLst>
              <a:ext uri="{FF2B5EF4-FFF2-40B4-BE49-F238E27FC236}">
                <a16:creationId xmlns:a16="http://schemas.microsoft.com/office/drawing/2014/main" id="{159A2B2E-121E-40B4-BF24-D513E7DAD635}"/>
              </a:ext>
            </a:extLst>
          </p:cNvPr>
          <p:cNvSpPr txBox="1">
            <a:spLocks/>
          </p:cNvSpPr>
          <p:nvPr/>
        </p:nvSpPr>
        <p:spPr>
          <a:xfrm>
            <a:off x="482392" y="3696799"/>
            <a:ext cx="508071" cy="249299"/>
          </a:xfrm>
          <a:prstGeom prst="rect">
            <a:avLst/>
          </a:prstGeom>
        </p:spPr>
        <p:txBody>
          <a:bodyPr vert="horz" wrap="square" lIns="0" tIns="0" rIns="0" bIns="0" rtlCol="0">
            <a:spAutoFit/>
          </a:bodyPr>
          <a:lstStyle>
            <a:lvl1pPr marL="0" indent="0" algn="l" defTabSz="514350" rtl="0" eaLnBrk="1" latinLnBrk="0" hangingPunct="1">
              <a:lnSpc>
                <a:spcPct val="90000"/>
              </a:lnSpc>
              <a:spcBef>
                <a:spcPts val="0"/>
              </a:spcBef>
              <a:spcAft>
                <a:spcPts val="1200"/>
              </a:spcAft>
              <a:buFont typeface="+mj-lt"/>
              <a:buNone/>
              <a:defRPr lang="en-US" sz="1100" kern="1200" spc="-10" baseline="0">
                <a:solidFill>
                  <a:schemeClr val="tx2"/>
                </a:solidFill>
                <a:latin typeface="+mn-lt"/>
                <a:ea typeface="+mn-ea"/>
                <a:cs typeface="+mn-cs"/>
              </a:defRPr>
            </a:lvl1pPr>
            <a:lvl2pPr marL="192881" indent="-192881"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2pPr>
            <a:lvl3pPr marL="458788" indent="-230188" algn="l" defTabSz="514350" rtl="0" eaLnBrk="1" latinLnBrk="0" hangingPunct="1">
              <a:lnSpc>
                <a:spcPct val="90000"/>
              </a:lnSpc>
              <a:spcBef>
                <a:spcPts val="200"/>
              </a:spcBef>
              <a:buFont typeface="Arial" charset="0"/>
              <a:buChar char="•"/>
              <a:tabLst/>
              <a:defRPr lang="en-US" sz="1100" kern="1200" spc="-10" dirty="0" smtClean="0">
                <a:solidFill>
                  <a:schemeClr val="tx2"/>
                </a:solidFill>
                <a:latin typeface="+mn-lt"/>
                <a:ea typeface="+mn-ea"/>
                <a:cs typeface="+mn-cs"/>
              </a:defRPr>
            </a:lvl3pPr>
            <a:lvl4pPr marL="685800" indent="-228600" algn="l" defTabSz="514350" rtl="0" eaLnBrk="1" latinLnBrk="0" hangingPunct="1">
              <a:lnSpc>
                <a:spcPct val="90000"/>
              </a:lnSpc>
              <a:spcBef>
                <a:spcPts val="200"/>
              </a:spcBef>
              <a:buFont typeface="Arial" charset="0"/>
              <a:buChar char="•"/>
              <a:defRPr lang="en-US" sz="1100" kern="1200" spc="-10" dirty="0" smtClean="0">
                <a:solidFill>
                  <a:schemeClr val="tx2"/>
                </a:solidFill>
                <a:latin typeface="+mn-lt"/>
                <a:ea typeface="+mn-ea"/>
                <a:cs typeface="+mn-cs"/>
              </a:defRPr>
            </a:lvl4pPr>
            <a:lvl5pPr marL="914400" indent="-228600" algn="l" defTabSz="514350" rtl="0" eaLnBrk="1" latinLnBrk="0" hangingPunct="1">
              <a:lnSpc>
                <a:spcPct val="90000"/>
              </a:lnSpc>
              <a:spcBef>
                <a:spcPts val="200"/>
              </a:spcBef>
              <a:buFont typeface="Arial" charset="0"/>
              <a:buChar char="•"/>
              <a:tabLst/>
              <a:defRPr lang="en-US" sz="1100" kern="1200" spc="-10" baseline="0" dirty="0" smtClean="0">
                <a:solidFill>
                  <a:schemeClr val="tx2"/>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r>
              <a:rPr lang="en-US" sz="1800" b="1" spc="-100" dirty="0">
                <a:solidFill>
                  <a:srgbClr val="C55422"/>
                </a:solidFill>
              </a:rPr>
              <a:t>30%</a:t>
            </a:r>
          </a:p>
        </p:txBody>
      </p:sp>
      <p:sp>
        <p:nvSpPr>
          <p:cNvPr id="61" name="Content Placeholder 6">
            <a:extLst>
              <a:ext uri="{FF2B5EF4-FFF2-40B4-BE49-F238E27FC236}">
                <a16:creationId xmlns:a16="http://schemas.microsoft.com/office/drawing/2014/main" id="{9AFB7D3C-201A-4B6E-8B5F-B69CA769242D}"/>
              </a:ext>
            </a:extLst>
          </p:cNvPr>
          <p:cNvSpPr txBox="1">
            <a:spLocks/>
          </p:cNvSpPr>
          <p:nvPr/>
        </p:nvSpPr>
        <p:spPr>
          <a:xfrm>
            <a:off x="43271" y="3961940"/>
            <a:ext cx="1317917" cy="430887"/>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r>
              <a:rPr lang="en-US" sz="1400" dirty="0">
                <a:solidFill>
                  <a:schemeClr val="bg1"/>
                </a:solidFill>
              </a:rPr>
              <a:t>Tenant Site Lease Protections</a:t>
            </a:r>
          </a:p>
        </p:txBody>
      </p:sp>
      <p:cxnSp>
        <p:nvCxnSpPr>
          <p:cNvPr id="62" name="Straight Connector 61">
            <a:extLst>
              <a:ext uri="{FF2B5EF4-FFF2-40B4-BE49-F238E27FC236}">
                <a16:creationId xmlns:a16="http://schemas.microsoft.com/office/drawing/2014/main" id="{06BDB1DD-5D30-45CF-AA46-35EA84772DE3}"/>
              </a:ext>
            </a:extLst>
          </p:cNvPr>
          <p:cNvCxnSpPr>
            <a:cxnSpLocks/>
          </p:cNvCxnSpPr>
          <p:nvPr/>
        </p:nvCxnSpPr>
        <p:spPr>
          <a:xfrm>
            <a:off x="174942" y="4552124"/>
            <a:ext cx="1021715"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Content Placeholder 6">
            <a:extLst>
              <a:ext uri="{FF2B5EF4-FFF2-40B4-BE49-F238E27FC236}">
                <a16:creationId xmlns:a16="http://schemas.microsoft.com/office/drawing/2014/main" id="{EB09A3B0-B0BE-4ACD-A348-17E4A1EC4CDD}"/>
              </a:ext>
            </a:extLst>
          </p:cNvPr>
          <p:cNvSpPr txBox="1">
            <a:spLocks/>
          </p:cNvSpPr>
          <p:nvPr/>
        </p:nvSpPr>
        <p:spPr>
          <a:xfrm>
            <a:off x="-373269" y="6005616"/>
            <a:ext cx="2151001" cy="430887"/>
          </a:xfrm>
          <a:prstGeom prst="rect">
            <a:avLst/>
          </a:prstGeom>
        </p:spPr>
        <p:txBody>
          <a:bodyPr vert="horz" wrap="square" lIns="0" tIns="0" rIns="0" bIns="0" rtlCol="0">
            <a:spAutoFit/>
          </a:bodyPr>
          <a:lstStyle>
            <a:lvl1pPr marL="0" indent="0" algn="l" defTabSz="514350" rtl="0" eaLnBrk="1" latinLnBrk="0" hangingPunct="1">
              <a:lnSpc>
                <a:spcPct val="100000"/>
              </a:lnSpc>
              <a:spcBef>
                <a:spcPts val="0"/>
              </a:spcBef>
              <a:spcAft>
                <a:spcPts val="1200"/>
              </a:spcAft>
              <a:buFont typeface="+mj-lt"/>
              <a:buNone/>
              <a:defRPr lang="en-US" sz="1100" kern="1200" spc="0" baseline="0">
                <a:solidFill>
                  <a:schemeClr val="tx1"/>
                </a:solidFill>
                <a:latin typeface="+mn-lt"/>
                <a:ea typeface="+mn-ea"/>
                <a:cs typeface="+mn-cs"/>
              </a:defRPr>
            </a:lvl1pPr>
            <a:lvl2pPr marL="192881" indent="-192881"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2pPr>
            <a:lvl3pPr marL="458788" indent="-230188" algn="l" defTabSz="514350" rtl="0" eaLnBrk="1" latinLnBrk="0" hangingPunct="1">
              <a:lnSpc>
                <a:spcPct val="100000"/>
              </a:lnSpc>
              <a:spcBef>
                <a:spcPts val="200"/>
              </a:spcBef>
              <a:buFont typeface="Arial" charset="0"/>
              <a:buChar char="•"/>
              <a:tabLst/>
              <a:defRPr lang="en-US" sz="1100" kern="1200" spc="0" dirty="0" smtClean="0">
                <a:solidFill>
                  <a:schemeClr val="tx1"/>
                </a:solidFill>
                <a:latin typeface="+mn-lt"/>
                <a:ea typeface="+mn-ea"/>
                <a:cs typeface="+mn-cs"/>
              </a:defRPr>
            </a:lvl3pPr>
            <a:lvl4pPr marL="685800" indent="-228600" algn="l" defTabSz="514350" rtl="0" eaLnBrk="1" latinLnBrk="0" hangingPunct="1">
              <a:lnSpc>
                <a:spcPct val="100000"/>
              </a:lnSpc>
              <a:spcBef>
                <a:spcPts val="200"/>
              </a:spcBef>
              <a:buFont typeface="Arial" charset="0"/>
              <a:buChar char="•"/>
              <a:defRPr lang="en-US" sz="1100" kern="1200" spc="0" dirty="0" smtClean="0">
                <a:solidFill>
                  <a:schemeClr val="tx1"/>
                </a:solidFill>
                <a:latin typeface="+mn-lt"/>
                <a:ea typeface="+mn-ea"/>
                <a:cs typeface="+mn-cs"/>
              </a:defRPr>
            </a:lvl4pPr>
            <a:lvl5pPr marL="914400" indent="-228600" algn="l" defTabSz="514350" rtl="0" eaLnBrk="1" latinLnBrk="0" hangingPunct="1">
              <a:lnSpc>
                <a:spcPct val="100000"/>
              </a:lnSpc>
              <a:spcBef>
                <a:spcPts val="200"/>
              </a:spcBef>
              <a:buFont typeface="Arial" charset="0"/>
              <a:buChar char="•"/>
              <a:tabLst/>
              <a:defRPr lang="en-US" sz="1100" kern="1200" spc="0" baseline="0" dirty="0" smtClean="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algn="ctr">
              <a:spcAft>
                <a:spcPts val="0"/>
              </a:spcAft>
            </a:pPr>
            <a:r>
              <a:rPr lang="en-US" sz="1400" dirty="0">
                <a:solidFill>
                  <a:schemeClr val="bg1"/>
                </a:solidFill>
              </a:rPr>
              <a:t>Section 515 &amp;</a:t>
            </a:r>
          </a:p>
          <a:p>
            <a:pPr algn="ctr">
              <a:spcAft>
                <a:spcPts val="0"/>
              </a:spcAft>
            </a:pPr>
            <a:r>
              <a:rPr lang="en-US" sz="1400" dirty="0">
                <a:solidFill>
                  <a:schemeClr val="bg1"/>
                </a:solidFill>
              </a:rPr>
              <a:t>HN Rural Regions</a:t>
            </a:r>
          </a:p>
        </p:txBody>
      </p:sp>
      <p:pic>
        <p:nvPicPr>
          <p:cNvPr id="14" name="Picture 13" descr="Icon&#10;&#10;Description automatically generated">
            <a:extLst>
              <a:ext uri="{FF2B5EF4-FFF2-40B4-BE49-F238E27FC236}">
                <a16:creationId xmlns:a16="http://schemas.microsoft.com/office/drawing/2014/main" id="{E288C00E-4FA0-4037-96E9-183DC2210F8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19178" y="4380538"/>
            <a:ext cx="1188720" cy="1188720"/>
          </a:xfrm>
          <a:prstGeom prst="rect">
            <a:avLst/>
          </a:prstGeom>
        </p:spPr>
      </p:pic>
    </p:spTree>
    <p:extLst>
      <p:ext uri="{BB962C8B-B14F-4D97-AF65-F5344CB8AC3E}">
        <p14:creationId xmlns:p14="http://schemas.microsoft.com/office/powerpoint/2010/main" val="1693841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FpM6DkZwdAjqqHcEidU9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slides">
  <a:themeElements>
    <a:clrScheme name="Fannie Mae Color Palette 2">
      <a:dk1>
        <a:srgbClr val="121212"/>
      </a:dk1>
      <a:lt1>
        <a:srgbClr val="FFFFFF"/>
      </a:lt1>
      <a:dk2>
        <a:srgbClr val="05304D"/>
      </a:dk2>
      <a:lt2>
        <a:srgbClr val="EDEBE9"/>
      </a:lt2>
      <a:accent1>
        <a:srgbClr val="085280"/>
      </a:accent1>
      <a:accent2>
        <a:srgbClr val="238196"/>
      </a:accent2>
      <a:accent3>
        <a:srgbClr val="C55422"/>
      </a:accent3>
      <a:accent4>
        <a:srgbClr val="FFB400"/>
      </a:accent4>
      <a:accent5>
        <a:srgbClr val="2C6937"/>
      </a:accent5>
      <a:accent6>
        <a:srgbClr val="911A5B"/>
      </a:accent6>
      <a:hlink>
        <a:srgbClr val="085280"/>
      </a:hlink>
      <a:folHlink>
        <a:srgbClr val="911A5B"/>
      </a:folHlink>
    </a:clrScheme>
    <a:fontScheme name="Fannie Mae Brand 2.0">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0" numCol="1" spcCol="228600" rtlCol="0">
        <a:spAutoFit/>
      </a:bodyPr>
      <a:lstStyle>
        <a:defPPr algn="l">
          <a:lnSpc>
            <a:spcPct val="90000"/>
          </a:lnSpc>
          <a:spcAft>
            <a:spcPts val="1200"/>
          </a:spcAft>
          <a:defRPr sz="1100">
            <a:solidFill>
              <a:schemeClr val="tx2"/>
            </a:solidFill>
          </a:defRPr>
        </a:defPPr>
      </a:lstStyle>
    </a:txDef>
  </a:objectDefaults>
  <a:extraClrSchemeLst/>
  <a:extLst>
    <a:ext uri="{05A4C25C-085E-4340-85A3-A5531E510DB2}">
      <thm15:themeFamily xmlns:thm15="http://schemas.microsoft.com/office/thememl/2012/main" name="Internal Brand PowerPoint Template-Standard.potx" id="{500BBB4D-4718-43B6-9F3A-346CF094EF3C}" vid="{433064DC-30B2-4F9C-B1F0-657F7B1A68B8}"/>
    </a:ext>
  </a:extLst>
</a:theme>
</file>

<file path=ppt/theme/theme2.xml><?xml version="1.0" encoding="utf-8"?>
<a:theme xmlns:a="http://schemas.openxmlformats.org/drawingml/2006/main" name="Cover and closing slides">
  <a:themeElements>
    <a:clrScheme name="Fannie Mae Color Palette 2">
      <a:dk1>
        <a:srgbClr val="121212"/>
      </a:dk1>
      <a:lt1>
        <a:srgbClr val="FFFFFF"/>
      </a:lt1>
      <a:dk2>
        <a:srgbClr val="05304D"/>
      </a:dk2>
      <a:lt2>
        <a:srgbClr val="EDEBE9"/>
      </a:lt2>
      <a:accent1>
        <a:srgbClr val="085280"/>
      </a:accent1>
      <a:accent2>
        <a:srgbClr val="238196"/>
      </a:accent2>
      <a:accent3>
        <a:srgbClr val="C55422"/>
      </a:accent3>
      <a:accent4>
        <a:srgbClr val="FFB400"/>
      </a:accent4>
      <a:accent5>
        <a:srgbClr val="2C6937"/>
      </a:accent5>
      <a:accent6>
        <a:srgbClr val="911A5B"/>
      </a:accent6>
      <a:hlink>
        <a:srgbClr val="085280"/>
      </a:hlink>
      <a:folHlink>
        <a:srgbClr val="911A5B"/>
      </a:folHlink>
    </a:clrScheme>
    <a:fontScheme name="Fannie Mae Brand 2.0">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lIns="0" tIns="0" rIns="0" bIns="0" rtlCol="0">
        <a:spAutoFit/>
      </a:bodyPr>
      <a:lstStyle>
        <a:defPPr algn="l">
          <a:lnSpc>
            <a:spcPct val="90000"/>
          </a:lnSpc>
          <a:spcAft>
            <a:spcPts val="1200"/>
          </a:spcAf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SendEmailAlert xmlns="946b7fcb-b6b4-4ef2-be73-dba3a580ace5">true</SendEmailAlert>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1045E0B0F3E9D4CBF6C5018A41D81D1" ma:contentTypeVersion="3" ma:contentTypeDescription="Create a new document." ma:contentTypeScope="" ma:versionID="3590a4e458905c45ef1ceac0885775c1">
  <xsd:schema xmlns:xsd="http://www.w3.org/2001/XMLSchema" xmlns:xs="http://www.w3.org/2001/XMLSchema" xmlns:p="http://schemas.microsoft.com/office/2006/metadata/properties" xmlns:ns1="http://schemas.microsoft.com/sharepoint/v3" xmlns:ns2="946b7fcb-b6b4-4ef2-be73-dba3a580ace5" xmlns:ns3="054c2eff-e66d-4d5e-80b6-2379bad19f6c" targetNamespace="http://schemas.microsoft.com/office/2006/metadata/properties" ma:root="true" ma:fieldsID="869e85712159980e0a74c6dbbf526c18" ns1:_="" ns2:_="" ns3:_="">
    <xsd:import namespace="http://schemas.microsoft.com/sharepoint/v3"/>
    <xsd:import namespace="946b7fcb-b6b4-4ef2-be73-dba3a580ace5"/>
    <xsd:import namespace="054c2eff-e66d-4d5e-80b6-2379bad19f6c"/>
    <xsd:element name="properties">
      <xsd:complexType>
        <xsd:sequence>
          <xsd:element name="documentManagement">
            <xsd:complexType>
              <xsd:all>
                <xsd:element ref="ns1:PublishingStartDate" minOccurs="0"/>
                <xsd:element ref="ns1:PublishingExpirationDate" minOccurs="0"/>
                <xsd:element ref="ns2:SendEmailAlert"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46b7fcb-b6b4-4ef2-be73-dba3a580ace5" elementFormDefault="qualified">
    <xsd:import namespace="http://schemas.microsoft.com/office/2006/documentManagement/types"/>
    <xsd:import namespace="http://schemas.microsoft.com/office/infopath/2007/PartnerControls"/>
    <xsd:element name="SendEmailAlert" ma:index="10" nillable="true" ma:displayName="SendEmailAlert" ma:default="1" ma:description="A flag to control the Email Alerts for the page. If set to true, an email alert will be sent out provided the Email Alerts feature is turned on." ma:internalName="SendEmailAlert">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54c2eff-e66d-4d5e-80b6-2379bad19f6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7C92CEB-64FD-4756-9741-94E4FB1334D1}">
  <ds:schemaRefs>
    <ds:schemaRef ds:uri="http://schemas.microsoft.com/office/2006/metadata/properties"/>
    <ds:schemaRef ds:uri="http://schemas.microsoft.com/office/infopath/2007/PartnerControls"/>
    <ds:schemaRef ds:uri="f17ba45f-5e04-4eda-bf0a-85b54d18213c"/>
  </ds:schemaRefs>
</ds:datastoreItem>
</file>

<file path=customXml/itemProps2.xml><?xml version="1.0" encoding="utf-8"?>
<ds:datastoreItem xmlns:ds="http://schemas.openxmlformats.org/officeDocument/2006/customXml" ds:itemID="{0BBF7F67-EE76-46BC-9C2D-F09D06C67356}">
  <ds:schemaRefs>
    <ds:schemaRef ds:uri="http://schemas.microsoft.com/sharepoint/v3/contenttype/forms"/>
  </ds:schemaRefs>
</ds:datastoreItem>
</file>

<file path=customXml/itemProps3.xml><?xml version="1.0" encoding="utf-8"?>
<ds:datastoreItem xmlns:ds="http://schemas.openxmlformats.org/officeDocument/2006/customXml" ds:itemID="{99BC7685-A63E-42F4-B113-77A0623E1A11}"/>
</file>

<file path=docProps/app.xml><?xml version="1.0" encoding="utf-8"?>
<Properties xmlns="http://schemas.openxmlformats.org/officeDocument/2006/extended-properties" xmlns:vt="http://schemas.openxmlformats.org/officeDocument/2006/docPropsVTypes">
  <Template>Internal Brand PowerPoint Template-Standard</Template>
  <TotalTime>7518</TotalTime>
  <Words>274</Words>
  <Application>Microsoft Office PowerPoint</Application>
  <PresentationFormat>On-screen Show (4:3)</PresentationFormat>
  <Paragraphs>55</Paragraphs>
  <Slides>6</Slides>
  <Notes>2</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5" baseType="lpstr">
      <vt:lpstr>Arial</vt:lpstr>
      <vt:lpstr>Calibri</vt:lpstr>
      <vt:lpstr>Source Sans Pro</vt:lpstr>
      <vt:lpstr>Source Sans Pro Semibold</vt:lpstr>
      <vt:lpstr>Source Sans Pro Semibold</vt:lpstr>
      <vt:lpstr>Wingdings</vt:lpstr>
      <vt:lpstr>Cover slides</vt:lpstr>
      <vt:lpstr>Cover and closing slides</vt:lpstr>
      <vt:lpstr>think-cell Slide</vt:lpstr>
      <vt:lpstr>Duty to Serve </vt:lpstr>
      <vt:lpstr>2018-2020 Accomplishments</vt:lpstr>
      <vt:lpstr>Affordable Housing Preservation </vt:lpstr>
      <vt:lpstr>2022-2024 Preview</vt:lpstr>
      <vt:lpstr>2022-24 Single-Family Overview</vt:lpstr>
      <vt:lpstr>2022-24 Multifamily Overview</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Fannie Mae</dc:creator>
  <cp:keywords/>
  <dc:description/>
  <cp:lastModifiedBy>Barnes, Kaci</cp:lastModifiedBy>
  <cp:revision>487</cp:revision>
  <cp:lastPrinted>2018-04-06T18:05:34Z</cp:lastPrinted>
  <dcterms:created xsi:type="dcterms:W3CDTF">2018-08-14T14:19:23Z</dcterms:created>
  <dcterms:modified xsi:type="dcterms:W3CDTF">2021-07-09T13:29:5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045E0B0F3E9D4CBF6C5018A41D81D1</vt:lpwstr>
  </property>
</Properties>
</file>